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heme/theme4.xml" ContentType="application/vnd.openxmlformats-officedocument.them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  <p:sldMasterId id="2147483685" r:id="rId6"/>
  </p:sldMasterIdLst>
  <p:notesMasterIdLst>
    <p:notesMasterId r:id="rId19"/>
  </p:notesMasterIdLst>
  <p:sldIdLst>
    <p:sldId id="2147375034" r:id="rId7"/>
    <p:sldId id="2147375035" r:id="rId8"/>
    <p:sldId id="2147375036" r:id="rId9"/>
    <p:sldId id="2147375037" r:id="rId10"/>
    <p:sldId id="2147375038" r:id="rId11"/>
    <p:sldId id="2147375039" r:id="rId12"/>
    <p:sldId id="2147375040" r:id="rId13"/>
    <p:sldId id="2147375041" r:id="rId14"/>
    <p:sldId id="2147375042" r:id="rId15"/>
    <p:sldId id="2147375043" r:id="rId16"/>
    <p:sldId id="2147375044" r:id="rId17"/>
    <p:sldId id="2147373711" r:id="rId18"/>
  </p:sldIdLst>
  <p:sldSz cx="12192000" cy="6858000"/>
  <p:notesSz cx="9296400" cy="7010400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  <a:srgbClr val="D1D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937" autoAdjust="0"/>
    <p:restoredTop sz="96281" autoAdjust="0"/>
  </p:normalViewPr>
  <p:slideViewPr>
    <p:cSldViewPr snapToGrid="0">
      <p:cViewPr varScale="1">
        <p:scale>
          <a:sx n="124" d="100"/>
          <a:sy n="124" d="100"/>
        </p:scale>
        <p:origin x="192" y="2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98" d="100"/>
          <a:sy n="98" d="100"/>
        </p:scale>
        <p:origin x="2115" y="-22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812" y="2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5916EF8-A592-4B91-B7C1-0734597AA76E}" type="datetimeFigureOut">
              <a:rPr lang="en-US" smtClean="0"/>
              <a:t>9/7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1" y="3373756"/>
            <a:ext cx="7437120" cy="2760345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6658667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12" y="6658667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552235A-B2C5-4410-89AB-949B5C99196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12902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52235A-B2C5-4410-89AB-949B5C99196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21561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70.xml"/><Relationship Id="rId7" Type="http://schemas.openxmlformats.org/officeDocument/2006/relationships/oleObject" Target="../embeddings/oleObject12.bin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2.xml"/><Relationship Id="rId11" Type="http://schemas.openxmlformats.org/officeDocument/2006/relationships/image" Target="../media/image6.png"/><Relationship Id="rId5" Type="http://schemas.openxmlformats.org/officeDocument/2006/relationships/tags" Target="../tags/tag72.xml"/><Relationship Id="rId10" Type="http://schemas.openxmlformats.org/officeDocument/2006/relationships/image" Target="../media/image5.png"/><Relationship Id="rId4" Type="http://schemas.openxmlformats.org/officeDocument/2006/relationships/tags" Target="../tags/tag71.xml"/><Relationship Id="rId9" Type="http://schemas.openxmlformats.org/officeDocument/2006/relationships/image" Target="../media/image13.jpe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image" Target="../media/image11.emf"/><Relationship Id="rId5" Type="http://schemas.openxmlformats.org/officeDocument/2006/relationships/tags" Target="../tags/tag77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76.xml"/><Relationship Id="rId9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10" Type="http://schemas.openxmlformats.org/officeDocument/2006/relationships/image" Target="../media/image9.emf"/><Relationship Id="rId4" Type="http://schemas.openxmlformats.org/officeDocument/2006/relationships/tags" Target="../tags/tag84.xml"/><Relationship Id="rId9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9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5" Type="http://schemas.openxmlformats.org/officeDocument/2006/relationships/tags" Target="../tags/tag92.xml"/><Relationship Id="rId4" Type="http://schemas.openxmlformats.org/officeDocument/2006/relationships/tags" Target="../tags/tag91.xml"/><Relationship Id="rId9" Type="http://schemas.openxmlformats.org/officeDocument/2006/relationships/image" Target="../media/image9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10" Type="http://schemas.openxmlformats.org/officeDocument/2006/relationships/image" Target="../media/image9.emf"/><Relationship Id="rId4" Type="http://schemas.openxmlformats.org/officeDocument/2006/relationships/tags" Target="../tags/tag97.xml"/><Relationship Id="rId9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10" Type="http://schemas.openxmlformats.org/officeDocument/2006/relationships/image" Target="../media/image9.emf"/><Relationship Id="rId4" Type="http://schemas.openxmlformats.org/officeDocument/2006/relationships/tags" Target="../tags/tag104.xml"/><Relationship Id="rId9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image" Target="../media/image3.pn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image" Target="../media/image11.emf"/><Relationship Id="rId5" Type="http://schemas.openxmlformats.org/officeDocument/2006/relationships/tags" Target="../tags/tag112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111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image" Target="../media/image3.png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image" Target="../media/image11.emf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12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19.xml"/><Relationship Id="rId9" Type="http://schemas.openxmlformats.org/officeDocument/2006/relationships/tags" Target="../tags/tag124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12" Type="http://schemas.openxmlformats.org/officeDocument/2006/relationships/image" Target="../media/image3.png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tags" Target="../tags/tag130.xml"/><Relationship Id="rId11" Type="http://schemas.openxmlformats.org/officeDocument/2006/relationships/image" Target="../media/image11.emf"/><Relationship Id="rId5" Type="http://schemas.openxmlformats.org/officeDocument/2006/relationships/tags" Target="../tags/tag129.xml"/><Relationship Id="rId10" Type="http://schemas.openxmlformats.org/officeDocument/2006/relationships/oleObject" Target="../embeddings/oleObject20.bin"/><Relationship Id="rId4" Type="http://schemas.openxmlformats.org/officeDocument/2006/relationships/tags" Target="../tags/tag128.xml"/><Relationship Id="rId9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12" Type="http://schemas.openxmlformats.org/officeDocument/2006/relationships/image" Target="../media/image3.png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11" Type="http://schemas.openxmlformats.org/officeDocument/2006/relationships/image" Target="../media/image14.emf"/><Relationship Id="rId5" Type="http://schemas.openxmlformats.org/officeDocument/2006/relationships/tags" Target="../tags/tag137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136.xml"/><Relationship Id="rId9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7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image" Target="../media/image3.png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image" Target="../media/image11.emf"/><Relationship Id="rId5" Type="http://schemas.openxmlformats.org/officeDocument/2006/relationships/tags" Target="../tags/tag145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144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15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tags" Target="../tags/tag154.xml"/><Relationship Id="rId11" Type="http://schemas.openxmlformats.org/officeDocument/2006/relationships/image" Target="../media/image2.png"/><Relationship Id="rId5" Type="http://schemas.openxmlformats.org/officeDocument/2006/relationships/tags" Target="../tags/tag153.xml"/><Relationship Id="rId10" Type="http://schemas.openxmlformats.org/officeDocument/2006/relationships/image" Target="../media/image3.png"/><Relationship Id="rId4" Type="http://schemas.openxmlformats.org/officeDocument/2006/relationships/tags" Target="../tags/tag152.xml"/><Relationship Id="rId9" Type="http://schemas.openxmlformats.org/officeDocument/2006/relationships/image" Target="../media/image9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57.xml"/><Relationship Id="rId7" Type="http://schemas.openxmlformats.org/officeDocument/2006/relationships/image" Target="../media/image9.emf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8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3" Type="http://schemas.openxmlformats.org/officeDocument/2006/relationships/tags" Target="../tags/tag163.xml"/><Relationship Id="rId7" Type="http://schemas.openxmlformats.org/officeDocument/2006/relationships/tags" Target="../tags/tag167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11" Type="http://schemas.openxmlformats.org/officeDocument/2006/relationships/image" Target="../media/image11.emf"/><Relationship Id="rId5" Type="http://schemas.openxmlformats.org/officeDocument/2006/relationships/tags" Target="../tags/tag165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64.xml"/><Relationship Id="rId9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9.xml"/><Relationship Id="rId4" Type="http://schemas.openxmlformats.org/officeDocument/2006/relationships/image" Target="../media/image9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11" Type="http://schemas.openxmlformats.org/officeDocument/2006/relationships/image" Target="../media/image11.emf"/><Relationship Id="rId5" Type="http://schemas.openxmlformats.org/officeDocument/2006/relationships/tags" Target="../tags/tag174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173.xml"/><Relationship Id="rId9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8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6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7.xml"/><Relationship Id="rId4" Type="http://schemas.openxmlformats.org/officeDocument/2006/relationships/image" Target="../media/image8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5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20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image" Target="../media/image2.png"/><Relationship Id="rId5" Type="http://schemas.openxmlformats.org/officeDocument/2006/relationships/tags" Target="../tags/tag204.xml"/><Relationship Id="rId10" Type="http://schemas.openxmlformats.org/officeDocument/2006/relationships/image" Target="../media/image3.png"/><Relationship Id="rId4" Type="http://schemas.openxmlformats.org/officeDocument/2006/relationships/tags" Target="../tags/tag203.xml"/><Relationship Id="rId9" Type="http://schemas.openxmlformats.org/officeDocument/2006/relationships/image" Target="../media/image9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213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tags" Target="../tags/tag211.xml"/><Relationship Id="rId11" Type="http://schemas.openxmlformats.org/officeDocument/2006/relationships/image" Target="../media/image11.emf"/><Relationship Id="rId5" Type="http://schemas.openxmlformats.org/officeDocument/2006/relationships/tags" Target="../tags/tag210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209.xml"/><Relationship Id="rId9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5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21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image" Target="../media/image2.png"/><Relationship Id="rId5" Type="http://schemas.openxmlformats.org/officeDocument/2006/relationships/tags" Target="../tags/tag220.xml"/><Relationship Id="rId10" Type="http://schemas.openxmlformats.org/officeDocument/2006/relationships/image" Target="../media/image3.png"/><Relationship Id="rId4" Type="http://schemas.openxmlformats.org/officeDocument/2006/relationships/tags" Target="../tags/tag219.xml"/><Relationship Id="rId9" Type="http://schemas.openxmlformats.org/officeDocument/2006/relationships/image" Target="../media/image9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229.xml"/><Relationship Id="rId3" Type="http://schemas.openxmlformats.org/officeDocument/2006/relationships/tags" Target="../tags/tag224.xml"/><Relationship Id="rId7" Type="http://schemas.openxmlformats.org/officeDocument/2006/relationships/tags" Target="../tags/tag228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tags" Target="../tags/tag227.xml"/><Relationship Id="rId11" Type="http://schemas.openxmlformats.org/officeDocument/2006/relationships/image" Target="../media/image11.emf"/><Relationship Id="rId5" Type="http://schemas.openxmlformats.org/officeDocument/2006/relationships/tags" Target="../tags/tag226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225.xml"/><Relationship Id="rId9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8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image" Target="../media/image10.png"/><Relationship Id="rId5" Type="http://schemas.openxmlformats.org/officeDocument/2006/relationships/tags" Target="../tags/tag36.xml"/><Relationship Id="rId10" Type="http://schemas.openxmlformats.org/officeDocument/2006/relationships/image" Target="../media/image2.png"/><Relationship Id="rId4" Type="http://schemas.openxmlformats.org/officeDocument/2006/relationships/tags" Target="../tags/tag35.xml"/><Relationship Id="rId9" Type="http://schemas.openxmlformats.org/officeDocument/2006/relationships/image" Target="../media/image9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6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slideMaster" Target="../slideMasters/slideMaster2.xml"/><Relationship Id="rId11" Type="http://schemas.openxmlformats.org/officeDocument/2006/relationships/image" Target="../media/image2.png"/><Relationship Id="rId5" Type="http://schemas.openxmlformats.org/officeDocument/2006/relationships/tags" Target="../tags/tag62.xml"/><Relationship Id="rId10" Type="http://schemas.openxmlformats.org/officeDocument/2006/relationships/image" Target="../media/image6.png"/><Relationship Id="rId4" Type="http://schemas.openxmlformats.org/officeDocument/2006/relationships/tags" Target="../tags/tag61.xml"/><Relationship Id="rId9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65.xml"/><Relationship Id="rId7" Type="http://schemas.openxmlformats.org/officeDocument/2006/relationships/oleObject" Target="../embeddings/oleObject11.bin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slideMaster" Target="../slideMasters/slideMaster2.xml"/><Relationship Id="rId11" Type="http://schemas.openxmlformats.org/officeDocument/2006/relationships/image" Target="../media/image6.png"/><Relationship Id="rId5" Type="http://schemas.openxmlformats.org/officeDocument/2006/relationships/tags" Target="../tags/tag67.xml"/><Relationship Id="rId10" Type="http://schemas.openxmlformats.org/officeDocument/2006/relationships/image" Target="../media/image5.png"/><Relationship Id="rId4" Type="http://schemas.openxmlformats.org/officeDocument/2006/relationships/tags" Target="../tags/tag66.xml"/><Relationship Id="rId9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2600710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416663" y="1030206"/>
            <a:ext cx="7059902" cy="50244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GB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16663" y="3186323"/>
            <a:ext cx="705990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GB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416663" y="5059815"/>
            <a:ext cx="705990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0EBD66F-9FB3-4445-AEC8-2B68EF92182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8736729" y="3130247"/>
            <a:ext cx="3311951" cy="331195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CC09E6C-58A2-4A27-B42B-20692ACAB21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9712070" y="236670"/>
            <a:ext cx="2091513" cy="7935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00A2D3-A37F-4DF2-8037-FF31241AB1C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6508188"/>
            <a:ext cx="12192000" cy="349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0822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1244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4400" b="0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586B7D4-8180-46BD-952B-384DF3F3C23A}"/>
              </a:ext>
            </a:extLst>
          </p:cNvPr>
          <p:cNvGrpSpPr/>
          <p:nvPr userDrawn="1"/>
        </p:nvGrpSpPr>
        <p:grpSpPr bwMode="ltGray"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23" name="Picture 4">
              <a:extLst>
                <a:ext uri="{FF2B5EF4-FFF2-40B4-BE49-F238E27FC236}">
                  <a16:creationId xmlns:a16="http://schemas.microsoft.com/office/drawing/2014/main" id="{F4FCE73E-1205-4291-ACEB-724FF7F7B1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2322513" y="0"/>
              <a:ext cx="9869487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D6BB801-878B-4685-8453-33555A316ABB}"/>
                </a:ext>
              </a:extLst>
            </p:cNvPr>
            <p:cNvSpPr/>
            <p:nvPr/>
          </p:nvSpPr>
          <p:spPr bwMode="ltGray">
            <a:xfrm>
              <a:off x="0" y="0"/>
              <a:ext cx="5389789" cy="6858000"/>
            </a:xfrm>
            <a:prstGeom prst="rect">
              <a:avLst/>
            </a:prstGeom>
            <a:solidFill>
              <a:srgbClr val="BEBDBB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en-GB" sz="1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87D2025-ACA1-47E6-9B70-A837D9E7B547}"/>
                </a:ext>
              </a:extLst>
            </p:cNvPr>
            <p:cNvSpPr/>
            <p:nvPr/>
          </p:nvSpPr>
          <p:spPr bwMode="ltGray">
            <a:xfrm>
              <a:off x="2819400" y="4141415"/>
              <a:ext cx="3792415" cy="2335580"/>
            </a:xfrm>
            <a:prstGeom prst="rect">
              <a:avLst/>
            </a:prstGeom>
            <a:solidFill>
              <a:srgbClr val="BEBDBB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en-GB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34068" y="5396399"/>
            <a:ext cx="5500008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400" dirty="0"/>
            </a:lvl1pPr>
          </a:lstStyle>
          <a:p>
            <a:pPr lvl="0"/>
            <a:r>
              <a:rPr lang="en-GB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34068" y="4260523"/>
            <a:ext cx="55000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2000" dirty="0"/>
            </a:lvl1pPr>
          </a:lstStyle>
          <a:p>
            <a:pPr lvl="0"/>
            <a:r>
              <a:rPr lang="en-GB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34068" y="2691241"/>
            <a:ext cx="5500008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 lang="en-US" sz="4400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3D56A81-C772-4CB6-8CE7-DDCE6546FD2B}"/>
              </a:ext>
            </a:extLst>
          </p:cNvPr>
          <p:cNvCxnSpPr>
            <a:cxnSpLocks/>
          </p:cNvCxnSpPr>
          <p:nvPr userDrawn="1"/>
        </p:nvCxnSpPr>
        <p:spPr>
          <a:xfrm>
            <a:off x="434068" y="4141415"/>
            <a:ext cx="396131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FF184ED8-A37B-4164-8E0B-C66E7F48001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528613" y="297005"/>
            <a:ext cx="1660603" cy="166060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C65723D-B900-43DD-8F55-C813527873C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9712070" y="236670"/>
            <a:ext cx="2091513" cy="793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8808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B28F9EEB-C067-4BE4-A645-50B2062C432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7696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2500" b="0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9614500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70692"/>
            <a:ext cx="9614500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800" b="0" dirty="0"/>
            </a:lvl1pPr>
          </a:lstStyle>
          <a:p>
            <a:pPr lvl="0"/>
            <a:r>
              <a:rPr lang="en-GB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488017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777EFB4A-2D54-471B-8930-7167105FB76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ZA" sz="1600" dirty="0">
              <a:solidFill>
                <a:schemeClr val="bg1"/>
              </a:solidFill>
            </a:endParaRP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409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7839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7176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08457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561ED238-325E-4A8E-8E2D-0BC5E315214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ZA" sz="1600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6729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18252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87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GB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quote source</a:t>
            </a:r>
            <a:endParaRPr lang="en-GB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09024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1108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7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0C02320-CCC4-49CE-85FF-E328B9F6A10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389277" y="113260"/>
            <a:ext cx="1247987" cy="473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0753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453B3638-89C4-4559-8453-529A1DCEFEA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ZA" sz="1600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981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7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3925B97-DF30-476D-B961-8DE4DF840B5B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389277" y="113260"/>
            <a:ext cx="1247987" cy="473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5307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613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7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 wrap="square"/>
          <a:lstStyle>
            <a:lvl1pPr rtl="0"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70692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1F1D8EF-FB4E-45D1-8CF0-5A2A7EDD4D6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389277" y="113260"/>
            <a:ext cx="1247987" cy="473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3057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7385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7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70692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3711FF-EF8F-4260-A9FB-15368B0AA55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389277" y="113260"/>
            <a:ext cx="1247987" cy="473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576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C94B70-8F75-4272-82EC-21F556F6E7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80971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C94B70-8F75-4272-82EC-21F556F6E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77018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1324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7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70692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154F625-39CA-4828-8BDA-1622E7D3721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389277" y="113260"/>
            <a:ext cx="1247987" cy="473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484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304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2500" b="0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9642560" cy="384721"/>
          </a:xfrm>
        </p:spPr>
        <p:txBody>
          <a:bodyPr vert="horz" wrap="square">
            <a:spAutoFit/>
          </a:bodyPr>
          <a:lstStyle>
            <a:lvl1pPr rtl="0"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FA34F52-4681-41E2-BD20-B0156189C1D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389277" y="113260"/>
            <a:ext cx="1247987" cy="47349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59053E2-EDEC-40BC-B1B3-05494DF28415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6745548"/>
            <a:ext cx="12192000" cy="112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2330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7836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AFA2A3-6B1C-4DFA-B7B1-E9DB7C8EA6B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389277" y="113260"/>
            <a:ext cx="1247987" cy="473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3471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9069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800" dirty="0"/>
              <a:t>Source: …</a:t>
            </a:r>
          </a:p>
        </p:txBody>
      </p:sp>
      <p:pic>
        <p:nvPicPr>
          <p:cNvPr id="74132" name="Picture 404" descr="GRA Logo - Ghana Talks Business">
            <a:extLst>
              <a:ext uri="{FF2B5EF4-FFF2-40B4-BE49-F238E27FC236}">
                <a16:creationId xmlns:a16="http://schemas.microsoft.com/office/drawing/2014/main" id="{FEB692D0-01B0-488C-8C36-B83C5CB2CD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7688" y="2771775"/>
            <a:ext cx="3476625" cy="1314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16549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 not remove" hidden="1">
            <a:extLst>
              <a:ext uri="{FF2B5EF4-FFF2-40B4-BE49-F238E27FC236}">
                <a16:creationId xmlns:a16="http://schemas.microsoft.com/office/drawing/2014/main" id="{113CD9AF-F2B4-4E82-8397-5EF96D1868F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GB" sz="1600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93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en-GB"/>
              <a:t>Chapter › Topic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4034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955751"/>
              </p:ext>
            </p:extLst>
          </p:nvPr>
        </p:nvGraphicFramePr>
        <p:xfrm>
          <a:off x="1620" y="1623"/>
          <a:ext cx="1618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0" y="1623"/>
                        <a:ext cx="1618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746129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smtClean="0">
                <a:solidFill>
                  <a:schemeClr val="tx1"/>
                </a:solidFill>
                <a:latin typeface="+mn-lt"/>
              </a:rPr>
              <a:pPr/>
              <a:t>‹#›</a:t>
            </a:fld>
            <a:endParaRPr lang="en-US" sz="816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Title Placeholder 3"/>
          <p:cNvSpPr>
            <a:spLocks noGrp="1"/>
          </p:cNvSpPr>
          <p:nvPr>
            <p:ph type="title"/>
          </p:nvPr>
        </p:nvSpPr>
        <p:spPr bwMode="gray">
          <a:xfrm>
            <a:off x="332058" y="233243"/>
            <a:ext cx="11510806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194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 not remove" hidden="1">
            <a:extLst>
              <a:ext uri="{FF2B5EF4-FFF2-40B4-BE49-F238E27FC236}">
                <a16:creationId xmlns:a16="http://schemas.microsoft.com/office/drawing/2014/main" id="{2EB4B00A-648E-4102-B295-0F55E5EC224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ZA" sz="1600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4138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9090839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416663" y="1030206"/>
            <a:ext cx="7059902" cy="50244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16663" y="3186323"/>
            <a:ext cx="705990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263412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61570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9601205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416663" y="1030206"/>
            <a:ext cx="7059902" cy="50244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16663" y="3186323"/>
            <a:ext cx="705990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416663" y="5059815"/>
            <a:ext cx="705990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0EBD66F-9FB3-4445-AEC8-2B68EF92182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8736729" y="3130247"/>
            <a:ext cx="3311951" cy="331195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CC09E6C-58A2-4A27-B42B-20692ACAB21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9712070" y="236670"/>
            <a:ext cx="2091513" cy="7935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00A2D3-A37F-4DF2-8037-FF31241AB1C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6508188"/>
            <a:ext cx="12192000" cy="349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3533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AC66214-99E6-48ED-9878-0FA2A5D76F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33514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AC66214-99E6-48ED-9878-0FA2A5D76F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45C767-2440-45E6-9599-4A6A9E357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43505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C94B70-8F75-4272-82EC-21F556F6E7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07666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C94B70-8F75-4272-82EC-21F556F6E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1747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AC66214-99E6-48ED-9878-0FA2A5D76F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92389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AC66214-99E6-48ED-9878-0FA2A5D76F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45C767-2440-45E6-9599-4A6A9E357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898864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9069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800" dirty="0"/>
              <a:t>Source: …</a:t>
            </a:r>
          </a:p>
        </p:txBody>
      </p:sp>
      <p:pic>
        <p:nvPicPr>
          <p:cNvPr id="74132" name="Picture 404" descr="GRA Logo - Ghana Talks Business">
            <a:extLst>
              <a:ext uri="{FF2B5EF4-FFF2-40B4-BE49-F238E27FC236}">
                <a16:creationId xmlns:a16="http://schemas.microsoft.com/office/drawing/2014/main" id="{FEB692D0-01B0-488C-8C36-B83C5CB2CD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7688" y="2771775"/>
            <a:ext cx="3476625" cy="1314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71470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304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2500" b="0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9642560" cy="384721"/>
          </a:xfrm>
        </p:spPr>
        <p:txBody>
          <a:bodyPr vert="horz" wrap="square">
            <a:spAutoFit/>
          </a:bodyPr>
          <a:lstStyle>
            <a:lvl1pPr rtl="0"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FA34F52-4681-41E2-BD20-B0156189C1D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389277" y="113260"/>
            <a:ext cx="1247987" cy="47349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59053E2-EDEC-40BC-B1B3-05494DF28415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6745548"/>
            <a:ext cx="12192000" cy="112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67782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B28F9EEB-C067-4BE4-A645-50B2062C432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7696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2500" b="0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9614500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70692"/>
            <a:ext cx="9614500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800" b="0" dirty="0"/>
            </a:lvl1pPr>
          </a:lstStyle>
          <a:p>
            <a:pPr lvl="0"/>
            <a:r>
              <a:rPr lang="en-GB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253068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9069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800" dirty="0"/>
              <a:t>Source: …</a:t>
            </a:r>
          </a:p>
        </p:txBody>
      </p:sp>
      <p:pic>
        <p:nvPicPr>
          <p:cNvPr id="74132" name="Picture 404" descr="GRA Logo - Ghana Talks Business">
            <a:extLst>
              <a:ext uri="{FF2B5EF4-FFF2-40B4-BE49-F238E27FC236}">
                <a16:creationId xmlns:a16="http://schemas.microsoft.com/office/drawing/2014/main" id="{FEB692D0-01B0-488C-8C36-B83C5CB2CD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7688" y="2771775"/>
            <a:ext cx="3476625" cy="1314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92624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304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2500" b="0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9642560" cy="384721"/>
          </a:xfrm>
        </p:spPr>
        <p:txBody>
          <a:bodyPr vert="horz" wrap="square">
            <a:spAutoFit/>
          </a:bodyPr>
          <a:lstStyle>
            <a:lvl1pPr rtl="0"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FA34F52-4681-41E2-BD20-B0156189C1D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389277" y="113260"/>
            <a:ext cx="1247987" cy="47349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59053E2-EDEC-40BC-B1B3-05494DF28415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6745548"/>
            <a:ext cx="12192000" cy="112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5332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B28F9EEB-C067-4BE4-A645-50B2062C432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7696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2500" b="0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9614500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70692"/>
            <a:ext cx="9614500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800" b="0" dirty="0"/>
            </a:lvl1pPr>
          </a:lstStyle>
          <a:p>
            <a:pPr lvl="0"/>
            <a:r>
              <a:rPr lang="en-GB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982614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9069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800" dirty="0"/>
              <a:t>Source: …</a:t>
            </a:r>
          </a:p>
        </p:txBody>
      </p:sp>
      <p:pic>
        <p:nvPicPr>
          <p:cNvPr id="74132" name="Picture 404" descr="GRA Logo - Ghana Talks Business">
            <a:extLst>
              <a:ext uri="{FF2B5EF4-FFF2-40B4-BE49-F238E27FC236}">
                <a16:creationId xmlns:a16="http://schemas.microsoft.com/office/drawing/2014/main" id="{FEB692D0-01B0-488C-8C36-B83C5CB2CD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7688" y="2771775"/>
            <a:ext cx="3476625" cy="1314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16397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35D534-8211-4510-8182-A9B9EC7767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35D534-8211-4510-8182-A9B9EC7767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8079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63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pic>
        <p:nvPicPr>
          <p:cNvPr id="5" name="Picture 526" descr="Image result for GRA logo png">
            <a:extLst>
              <a:ext uri="{FF2B5EF4-FFF2-40B4-BE49-F238E27FC236}">
                <a16:creationId xmlns:a16="http://schemas.microsoft.com/office/drawing/2014/main" id="{5EB45E66-7D6F-482F-8EAD-04FE40A511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7688" y="2771775"/>
            <a:ext cx="3476625" cy="1314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0043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1830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9669919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966991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2183391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4763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779962"/>
            <a:ext cx="9717024" cy="384721"/>
          </a:xfrm>
        </p:spPr>
        <p:txBody>
          <a:bodyPr vert="horz">
            <a:sp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F89DCA8-3CCF-453D-A55F-DBBDF0E6479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6745548"/>
            <a:ext cx="12192000" cy="112451"/>
          </a:xfrm>
          <a:prstGeom prst="rect">
            <a:avLst/>
          </a:prstGeom>
        </p:spPr>
      </p:pic>
      <p:pic>
        <p:nvPicPr>
          <p:cNvPr id="11" name="Picture 526" descr="Image result for GRA logo png">
            <a:extLst>
              <a:ext uri="{FF2B5EF4-FFF2-40B4-BE49-F238E27FC236}">
                <a16:creationId xmlns:a16="http://schemas.microsoft.com/office/drawing/2014/main" id="{66287AD9-6E51-4FC2-9722-6A62B091C4A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29241" y="744529"/>
            <a:ext cx="1202944" cy="454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20797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1361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4400" b="0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1" y="5396399"/>
            <a:ext cx="7705368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400" dirty="0"/>
            </a:lvl1pPr>
          </a:lstStyle>
          <a:p>
            <a:pPr lvl="0"/>
            <a:r>
              <a:rPr lang="en-GB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2" y="3631667"/>
            <a:ext cx="770536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2000" dirty="0"/>
            </a:lvl1pPr>
          </a:lstStyle>
          <a:p>
            <a:pPr lvl="0"/>
            <a:r>
              <a:rPr lang="en-GB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2" y="1497604"/>
            <a:ext cx="770536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4400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4488F0-84D2-4553-A481-EA39727ED4B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8736729" y="3130247"/>
            <a:ext cx="3311951" cy="331195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8EC2BFF-365C-4D38-B2A0-D73E235DD29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9712070" y="236670"/>
            <a:ext cx="2091513" cy="79353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3CCF527-7750-47EA-8FC6-A8C7F3592CBB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6508188"/>
            <a:ext cx="12192000" cy="349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529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rgbClr val="E7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9069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4400" b="0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34068" y="5396399"/>
            <a:ext cx="5500008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400" dirty="0"/>
            </a:lvl1pPr>
          </a:lstStyle>
          <a:p>
            <a:pPr lvl="0"/>
            <a:r>
              <a:rPr lang="en-GB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34068" y="4260523"/>
            <a:ext cx="55000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2000" dirty="0"/>
            </a:lvl1pPr>
          </a:lstStyle>
          <a:p>
            <a:pPr lvl="0"/>
            <a:r>
              <a:rPr lang="en-GB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34068" y="2691241"/>
            <a:ext cx="5500008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 lang="en-US" sz="4400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8418220-2722-4AC3-850F-B3FF7E4AC50A}"/>
              </a:ext>
            </a:extLst>
          </p:cNvPr>
          <p:cNvPicPr>
            <a:picLocks/>
          </p:cNvPicPr>
          <p:nvPr userDrawn="1"/>
        </p:nvPicPr>
        <p:blipFill rotWithShape="1">
          <a:blip r:embed="rId9"/>
          <a:srcRect l="5348" r="36915"/>
          <a:stretch/>
        </p:blipFill>
        <p:spPr bwMode="ltGray">
          <a:xfrm>
            <a:off x="6257925" y="0"/>
            <a:ext cx="5934075" cy="6858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3D56A81-C772-4CB6-8CE7-DDCE6546FD2B}"/>
              </a:ext>
            </a:extLst>
          </p:cNvPr>
          <p:cNvCxnSpPr>
            <a:cxnSpLocks/>
          </p:cNvCxnSpPr>
          <p:nvPr userDrawn="1"/>
        </p:nvCxnSpPr>
        <p:spPr>
          <a:xfrm>
            <a:off x="434068" y="4141415"/>
            <a:ext cx="396131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FF184ED8-A37B-4164-8E0B-C66E7F48001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528613" y="297005"/>
            <a:ext cx="1660603" cy="166060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C65723D-B900-43DD-8F55-C813527873C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9712070" y="236670"/>
            <a:ext cx="2091513" cy="793536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43009F02-2B34-43E8-B91A-6579DFCC6462}"/>
              </a:ext>
            </a:extLst>
          </p:cNvPr>
          <p:cNvGrpSpPr/>
          <p:nvPr userDrawn="1"/>
        </p:nvGrpSpPr>
        <p:grpSpPr bwMode="ltGray">
          <a:xfrm>
            <a:off x="6257925" y="0"/>
            <a:ext cx="257175" cy="6858000"/>
            <a:chOff x="6257925" y="0"/>
            <a:chExt cx="409575" cy="6858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4276685-2CFA-4AAD-9DD0-9E8BEAC629E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257925" y="2286000"/>
              <a:ext cx="409575" cy="2286000"/>
            </a:xfrm>
            <a:prstGeom prst="rect">
              <a:avLst/>
            </a:prstGeom>
            <a:solidFill>
              <a:srgbClr val="FCD116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en-GB" sz="1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D24ACBD-749A-4C66-86C4-F49EE8A26CA5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257925" y="0"/>
              <a:ext cx="409575" cy="2286000"/>
            </a:xfrm>
            <a:prstGeom prst="rect">
              <a:avLst/>
            </a:prstGeom>
            <a:solidFill>
              <a:srgbClr val="CE1126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en-GB" sz="1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71B9A4A-9160-4A6F-867E-1AE0D6A98D82}"/>
                </a:ext>
              </a:extLst>
            </p:cNvPr>
            <p:cNvSpPr>
              <a:spLocks/>
            </p:cNvSpPr>
            <p:nvPr/>
          </p:nvSpPr>
          <p:spPr bwMode="ltGray">
            <a:xfrm>
              <a:off x="6257925" y="4572000"/>
              <a:ext cx="409575" cy="2286000"/>
            </a:xfrm>
            <a:prstGeom prst="rect">
              <a:avLst/>
            </a:prstGeom>
            <a:solidFill>
              <a:srgbClr val="006B3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en-GB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9559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image" Target="../media/image2.png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tags" Target="../tags/tag41.xml"/><Relationship Id="rId39" Type="http://schemas.openxmlformats.org/officeDocument/2006/relationships/tags" Target="../tags/tag54.xml"/><Relationship Id="rId21" Type="http://schemas.openxmlformats.org/officeDocument/2006/relationships/slideLayout" Target="../slideLayouts/slideLayout28.xml"/><Relationship Id="rId34" Type="http://schemas.openxmlformats.org/officeDocument/2006/relationships/tags" Target="../tags/tag49.xml"/><Relationship Id="rId42" Type="http://schemas.openxmlformats.org/officeDocument/2006/relationships/tags" Target="../tags/tag57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9" Type="http://schemas.openxmlformats.org/officeDocument/2006/relationships/tags" Target="../tags/tag44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tags" Target="../tags/tag39.xml"/><Relationship Id="rId32" Type="http://schemas.openxmlformats.org/officeDocument/2006/relationships/tags" Target="../tags/tag47.xml"/><Relationship Id="rId37" Type="http://schemas.openxmlformats.org/officeDocument/2006/relationships/tags" Target="../tags/tag52.xml"/><Relationship Id="rId40" Type="http://schemas.openxmlformats.org/officeDocument/2006/relationships/tags" Target="../tags/tag55.xml"/><Relationship Id="rId45" Type="http://schemas.openxmlformats.org/officeDocument/2006/relationships/image" Target="../media/image2.png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tags" Target="../tags/tag38.xml"/><Relationship Id="rId28" Type="http://schemas.openxmlformats.org/officeDocument/2006/relationships/tags" Target="../tags/tag43.xml"/><Relationship Id="rId36" Type="http://schemas.openxmlformats.org/officeDocument/2006/relationships/tags" Target="../tags/tag51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tags" Target="../tags/tag46.xml"/><Relationship Id="rId44" Type="http://schemas.openxmlformats.org/officeDocument/2006/relationships/image" Target="../media/image11.emf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theme" Target="../theme/theme2.xml"/><Relationship Id="rId27" Type="http://schemas.openxmlformats.org/officeDocument/2006/relationships/tags" Target="../tags/tag42.xml"/><Relationship Id="rId30" Type="http://schemas.openxmlformats.org/officeDocument/2006/relationships/tags" Target="../tags/tag45.xml"/><Relationship Id="rId35" Type="http://schemas.openxmlformats.org/officeDocument/2006/relationships/tags" Target="../tags/tag50.xml"/><Relationship Id="rId43" Type="http://schemas.openxmlformats.org/officeDocument/2006/relationships/oleObject" Target="../embeddings/oleObject9.bin"/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tags" Target="../tags/tag40.xml"/><Relationship Id="rId33" Type="http://schemas.openxmlformats.org/officeDocument/2006/relationships/tags" Target="../tags/tag48.xml"/><Relationship Id="rId38" Type="http://schemas.openxmlformats.org/officeDocument/2006/relationships/tags" Target="../tags/tag53.xml"/><Relationship Id="rId46" Type="http://schemas.openxmlformats.org/officeDocument/2006/relationships/image" Target="../media/image3.png"/><Relationship Id="rId20" Type="http://schemas.openxmlformats.org/officeDocument/2006/relationships/slideLayout" Target="../slideLayouts/slideLayout27.xml"/><Relationship Id="rId41" Type="http://schemas.openxmlformats.org/officeDocument/2006/relationships/tags" Target="../tags/tag5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ags" Target="../tags/tag179.xml"/><Relationship Id="rId18" Type="http://schemas.openxmlformats.org/officeDocument/2006/relationships/tags" Target="../tags/tag184.xml"/><Relationship Id="rId26" Type="http://schemas.openxmlformats.org/officeDocument/2006/relationships/tags" Target="../tags/tag192.xml"/><Relationship Id="rId3" Type="http://schemas.openxmlformats.org/officeDocument/2006/relationships/slideLayout" Target="../slideLayouts/slideLayout31.xml"/><Relationship Id="rId21" Type="http://schemas.openxmlformats.org/officeDocument/2006/relationships/tags" Target="../tags/tag187.xml"/><Relationship Id="rId7" Type="http://schemas.openxmlformats.org/officeDocument/2006/relationships/slideLayout" Target="../slideLayouts/slideLayout35.xml"/><Relationship Id="rId12" Type="http://schemas.openxmlformats.org/officeDocument/2006/relationships/tags" Target="../tags/tag178.xml"/><Relationship Id="rId17" Type="http://schemas.openxmlformats.org/officeDocument/2006/relationships/tags" Target="../tags/tag183.xml"/><Relationship Id="rId25" Type="http://schemas.openxmlformats.org/officeDocument/2006/relationships/tags" Target="../tags/tag191.xml"/><Relationship Id="rId2" Type="http://schemas.openxmlformats.org/officeDocument/2006/relationships/slideLayout" Target="../slideLayouts/slideLayout30.xml"/><Relationship Id="rId16" Type="http://schemas.openxmlformats.org/officeDocument/2006/relationships/tags" Target="../tags/tag182.xml"/><Relationship Id="rId20" Type="http://schemas.openxmlformats.org/officeDocument/2006/relationships/tags" Target="../tags/tag186.xml"/><Relationship Id="rId29" Type="http://schemas.openxmlformats.org/officeDocument/2006/relationships/oleObject" Target="../embeddings/oleObject29.bin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heme" Target="../theme/theme3.xml"/><Relationship Id="rId24" Type="http://schemas.openxmlformats.org/officeDocument/2006/relationships/tags" Target="../tags/tag190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33.xml"/><Relationship Id="rId15" Type="http://schemas.openxmlformats.org/officeDocument/2006/relationships/tags" Target="../tags/tag181.xml"/><Relationship Id="rId23" Type="http://schemas.openxmlformats.org/officeDocument/2006/relationships/tags" Target="../tags/tag189.xml"/><Relationship Id="rId28" Type="http://schemas.openxmlformats.org/officeDocument/2006/relationships/tags" Target="../tags/tag194.xml"/><Relationship Id="rId10" Type="http://schemas.openxmlformats.org/officeDocument/2006/relationships/slideLayout" Target="../slideLayouts/slideLayout38.xml"/><Relationship Id="rId19" Type="http://schemas.openxmlformats.org/officeDocument/2006/relationships/tags" Target="../tags/tag185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ags" Target="../tags/tag180.xml"/><Relationship Id="rId22" Type="http://schemas.openxmlformats.org/officeDocument/2006/relationships/tags" Target="../tags/tag188.xml"/><Relationship Id="rId27" Type="http://schemas.openxmlformats.org/officeDocument/2006/relationships/tags" Target="../tags/tag193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948208549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6" y="234864"/>
            <a:ext cx="10400267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GB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6" y="566136"/>
            <a:ext cx="1040026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359382"/>
            <a:ext cx="1172548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6" y="6565090"/>
            <a:ext cx="9795570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GB"/>
              <a:t>Click to edit Master text styles</a:t>
            </a:r>
          </a:p>
          <a:p>
            <a:pPr lvl="1" latinLnBrk="0"/>
            <a:r>
              <a:rPr lang="en-GB"/>
              <a:t>Second level</a:t>
            </a:r>
          </a:p>
          <a:p>
            <a:pPr lvl="2" latinLnBrk="0"/>
            <a:r>
              <a:rPr lang="en-GB"/>
              <a:t>Third level</a:t>
            </a:r>
          </a:p>
          <a:p>
            <a:pPr lvl="3" latinLnBrk="0"/>
            <a:r>
              <a:rPr lang="en-GB"/>
              <a:t>Fourth level</a:t>
            </a:r>
          </a:p>
          <a:p>
            <a:pPr lvl="4" latinLnBrk="0"/>
            <a:r>
              <a:rPr lang="en-GB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91399"/>
            <a:ext cx="5801189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3" name="Slide Number">
            <a:extLst>
              <a:ext uri="{FF2B5EF4-FFF2-40B4-BE49-F238E27FC236}">
                <a16:creationId xmlns:a16="http://schemas.microsoft.com/office/drawing/2014/main" id="{353649E6-F239-4927-85D4-283AECD1F37B}"/>
              </a:ext>
            </a:extLst>
          </p:cNvPr>
          <p:cNvSpPr txBox="1">
            <a:spLocks/>
          </p:cNvSpPr>
          <p:nvPr/>
        </p:nvSpPr>
        <p:spPr bwMode="auto">
          <a:xfrm>
            <a:off x="11799760" y="6567069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grpSp>
        <p:nvGrpSpPr>
          <p:cNvPr id="64" name="Sticker" hidden="1">
            <a:extLst>
              <a:ext uri="{FF2B5EF4-FFF2-40B4-BE49-F238E27FC236}">
                <a16:creationId xmlns:a16="http://schemas.microsoft.com/office/drawing/2014/main" id="{B3385648-734C-49F4-B667-6F51DDDD4A81}"/>
              </a:ext>
            </a:extLst>
          </p:cNvPr>
          <p:cNvGrpSpPr/>
          <p:nvPr/>
        </p:nvGrpSpPr>
        <p:grpSpPr bwMode="gray">
          <a:xfrm>
            <a:off x="11441816" y="672142"/>
            <a:ext cx="482978" cy="153874"/>
            <a:chOff x="8267440" y="285750"/>
            <a:chExt cx="473335" cy="150811"/>
          </a:xfrm>
        </p:grpSpPr>
        <p:sp>
          <p:nvSpPr>
            <p:cNvPr id="65" name="StickerRectangle">
              <a:extLst>
                <a:ext uri="{FF2B5EF4-FFF2-40B4-BE49-F238E27FC236}">
                  <a16:creationId xmlns:a16="http://schemas.microsoft.com/office/drawing/2014/main" id="{58291ACD-CD56-4FED-A9A4-C7F84DF3285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66" name="AutoShape 31">
              <a:extLst>
                <a:ext uri="{FF2B5EF4-FFF2-40B4-BE49-F238E27FC236}">
                  <a16:creationId xmlns:a16="http://schemas.microsoft.com/office/drawing/2014/main" id="{271F69C6-784A-4F9B-92E7-2FC9CA9D5A44}"/>
                </a:ext>
              </a:extLst>
            </p:cNvPr>
            <p:cNvCxnSpPr>
              <a:cxnSpLocks noChangeShapeType="1"/>
              <a:stCxn id="65" idx="2"/>
              <a:endCxn id="65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" name="AutoShape 32">
              <a:extLst>
                <a:ext uri="{FF2B5EF4-FFF2-40B4-BE49-F238E27FC236}">
                  <a16:creationId xmlns:a16="http://schemas.microsoft.com/office/drawing/2014/main" id="{4F6813C6-3B09-4DAC-824B-EEE33CBD62DC}"/>
                </a:ext>
              </a:extLst>
            </p:cNvPr>
            <p:cNvCxnSpPr>
              <a:cxnSpLocks noChangeShapeType="1"/>
              <a:stCxn id="65" idx="4"/>
              <a:endCxn id="65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8" name="LegendBoxes" hidden="1">
            <a:extLst>
              <a:ext uri="{FF2B5EF4-FFF2-40B4-BE49-F238E27FC236}">
                <a16:creationId xmlns:a16="http://schemas.microsoft.com/office/drawing/2014/main" id="{BE23765C-EB5F-4AA0-B103-E02E5C8E6AD9}"/>
              </a:ext>
            </a:extLst>
          </p:cNvPr>
          <p:cNvGrpSpPr/>
          <p:nvPr/>
        </p:nvGrpSpPr>
        <p:grpSpPr bwMode="gray">
          <a:xfrm>
            <a:off x="11145480" y="672142"/>
            <a:ext cx="779314" cy="1017727"/>
            <a:chOff x="7835905" y="279400"/>
            <a:chExt cx="763755" cy="997467"/>
          </a:xfrm>
        </p:grpSpPr>
        <p:sp>
          <p:nvSpPr>
            <p:cNvPr id="69" name="RectangleLegend1">
              <a:extLst>
                <a:ext uri="{FF2B5EF4-FFF2-40B4-BE49-F238E27FC236}">
                  <a16:creationId xmlns:a16="http://schemas.microsoft.com/office/drawing/2014/main" id="{CDF1E6B1-39E5-4270-A8D7-6ED89653E5B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2">
              <a:extLst>
                <a:ext uri="{FF2B5EF4-FFF2-40B4-BE49-F238E27FC236}">
                  <a16:creationId xmlns:a16="http://schemas.microsoft.com/office/drawing/2014/main" id="{4E0E4E78-BEC6-4761-AD67-5CE5D8AFEB0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71" name="RectangleLegend3">
              <a:extLst>
                <a:ext uri="{FF2B5EF4-FFF2-40B4-BE49-F238E27FC236}">
                  <a16:creationId xmlns:a16="http://schemas.microsoft.com/office/drawing/2014/main" id="{972BF719-BB20-4B17-8C53-2073D2D12ED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72" name="RectangleLegend4">
              <a:extLst>
                <a:ext uri="{FF2B5EF4-FFF2-40B4-BE49-F238E27FC236}">
                  <a16:creationId xmlns:a16="http://schemas.microsoft.com/office/drawing/2014/main" id="{B7C5553E-47A7-4B2A-B054-9A89BBF277A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73" name="Legend1">
              <a:extLst>
                <a:ext uri="{FF2B5EF4-FFF2-40B4-BE49-F238E27FC236}">
                  <a16:creationId xmlns:a16="http://schemas.microsoft.com/office/drawing/2014/main" id="{5283AF3C-BA16-4E45-AB5C-9C7FFA075C7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2">
              <a:extLst>
                <a:ext uri="{FF2B5EF4-FFF2-40B4-BE49-F238E27FC236}">
                  <a16:creationId xmlns:a16="http://schemas.microsoft.com/office/drawing/2014/main" id="{A824E9CA-98D6-48B9-9022-40686B469C9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BE27AA6A-B50C-4F19-BE97-40F26ECC889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6" name="Legend4">
              <a:extLst>
                <a:ext uri="{FF2B5EF4-FFF2-40B4-BE49-F238E27FC236}">
                  <a16:creationId xmlns:a16="http://schemas.microsoft.com/office/drawing/2014/main" id="{1A215EDD-503E-4867-AA05-B3C6CF28C29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7" name="LegendLines" hidden="1">
            <a:extLst>
              <a:ext uri="{FF2B5EF4-FFF2-40B4-BE49-F238E27FC236}">
                <a16:creationId xmlns:a16="http://schemas.microsoft.com/office/drawing/2014/main" id="{44701BA4-6BC4-4853-8CC1-920B75DEAE8C}"/>
              </a:ext>
            </a:extLst>
          </p:cNvPr>
          <p:cNvGrpSpPr/>
          <p:nvPr/>
        </p:nvGrpSpPr>
        <p:grpSpPr bwMode="gray">
          <a:xfrm>
            <a:off x="10831401" y="672142"/>
            <a:ext cx="1093393" cy="745084"/>
            <a:chOff x="7540629" y="279400"/>
            <a:chExt cx="1071563" cy="730251"/>
          </a:xfrm>
        </p:grpSpPr>
        <p:sp>
          <p:nvSpPr>
            <p:cNvPr id="78" name="LineLegend1">
              <a:extLst>
                <a:ext uri="{FF2B5EF4-FFF2-40B4-BE49-F238E27FC236}">
                  <a16:creationId xmlns:a16="http://schemas.microsoft.com/office/drawing/2014/main" id="{8A5E4828-6488-4D47-9086-08268D6151E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79" name="LineLegend2">
              <a:extLst>
                <a:ext uri="{FF2B5EF4-FFF2-40B4-BE49-F238E27FC236}">
                  <a16:creationId xmlns:a16="http://schemas.microsoft.com/office/drawing/2014/main" id="{C114C4F6-D39E-4879-80E5-045C706143D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80" name="LineLegend3">
              <a:extLst>
                <a:ext uri="{FF2B5EF4-FFF2-40B4-BE49-F238E27FC236}">
                  <a16:creationId xmlns:a16="http://schemas.microsoft.com/office/drawing/2014/main" id="{C20E8B28-1DB2-46CA-AA59-50829282C10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81" name="Legend1">
              <a:extLst>
                <a:ext uri="{FF2B5EF4-FFF2-40B4-BE49-F238E27FC236}">
                  <a16:creationId xmlns:a16="http://schemas.microsoft.com/office/drawing/2014/main" id="{4E3E158E-6E9E-4239-B5B4-0D82C8433CD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2" name="Legend2">
              <a:extLst>
                <a:ext uri="{FF2B5EF4-FFF2-40B4-BE49-F238E27FC236}">
                  <a16:creationId xmlns:a16="http://schemas.microsoft.com/office/drawing/2014/main" id="{6CB3A952-B92E-4517-914F-59DBC79D360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3" name="Legend3">
              <a:extLst>
                <a:ext uri="{FF2B5EF4-FFF2-40B4-BE49-F238E27FC236}">
                  <a16:creationId xmlns:a16="http://schemas.microsoft.com/office/drawing/2014/main" id="{862C9590-4F8C-43BE-922C-C170D75E010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4" name="LegendMoons" hidden="1">
            <a:extLst>
              <a:ext uri="{FF2B5EF4-FFF2-40B4-BE49-F238E27FC236}">
                <a16:creationId xmlns:a16="http://schemas.microsoft.com/office/drawing/2014/main" id="{5176FA49-464A-4031-AA10-CC94B0B7D03D}"/>
              </a:ext>
            </a:extLst>
          </p:cNvPr>
          <p:cNvGrpSpPr/>
          <p:nvPr/>
        </p:nvGrpSpPr>
        <p:grpSpPr bwMode="gray">
          <a:xfrm>
            <a:off x="11077447" y="672142"/>
            <a:ext cx="847347" cy="1333054"/>
            <a:chOff x="7769225" y="250825"/>
            <a:chExt cx="830430" cy="1306516"/>
          </a:xfrm>
        </p:grpSpPr>
        <p:grpSp>
          <p:nvGrpSpPr>
            <p:cNvPr id="85" name="MoonLegend1">
              <a:extLst>
                <a:ext uri="{FF2B5EF4-FFF2-40B4-BE49-F238E27FC236}">
                  <a16:creationId xmlns:a16="http://schemas.microsoft.com/office/drawing/2014/main" id="{0C8AF360-3334-4823-8C5F-61B5037C9E47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3" name="Oval 38">
                <a:extLst>
                  <a:ext uri="{FF2B5EF4-FFF2-40B4-BE49-F238E27FC236}">
                    <a16:creationId xmlns:a16="http://schemas.microsoft.com/office/drawing/2014/main" id="{2F29C6E0-FB3B-4471-AA4A-32588CA7B07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4" name="Arc 39">
                <a:extLst>
                  <a:ext uri="{FF2B5EF4-FFF2-40B4-BE49-F238E27FC236}">
                    <a16:creationId xmlns:a16="http://schemas.microsoft.com/office/drawing/2014/main" id="{EDAA612D-8EE7-49BF-9C3E-8A790436BA0A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6" name="MoonLegend2">
              <a:extLst>
                <a:ext uri="{FF2B5EF4-FFF2-40B4-BE49-F238E27FC236}">
                  <a16:creationId xmlns:a16="http://schemas.microsoft.com/office/drawing/2014/main" id="{08CF33FE-5603-4965-8961-47AC13E8FC30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1" name="Oval 41">
                <a:extLst>
                  <a:ext uri="{FF2B5EF4-FFF2-40B4-BE49-F238E27FC236}">
                    <a16:creationId xmlns:a16="http://schemas.microsoft.com/office/drawing/2014/main" id="{57A70A8A-13E1-4BEA-A89C-F23FE7CEC1E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2" name="Arc 42">
                <a:extLst>
                  <a:ext uri="{FF2B5EF4-FFF2-40B4-BE49-F238E27FC236}">
                    <a16:creationId xmlns:a16="http://schemas.microsoft.com/office/drawing/2014/main" id="{9F912FEC-8A74-4EC0-92F6-56FD1C1F0BFD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7" name="MoonLegend4">
              <a:extLst>
                <a:ext uri="{FF2B5EF4-FFF2-40B4-BE49-F238E27FC236}">
                  <a16:creationId xmlns:a16="http://schemas.microsoft.com/office/drawing/2014/main" id="{8423DA98-09EE-4316-96B7-053CEA8003B7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BE2B8B4E-D86D-4DEE-9938-C29E7FE75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7D28F3C2-1A95-4DA9-B920-F1CEAC92CA40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8" name="MoonLegend5">
              <a:extLst>
                <a:ext uri="{FF2B5EF4-FFF2-40B4-BE49-F238E27FC236}">
                  <a16:creationId xmlns:a16="http://schemas.microsoft.com/office/drawing/2014/main" id="{FE238BE4-3D47-4C56-9819-7B517E271936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7" name="Oval 50">
                <a:extLst>
                  <a:ext uri="{FF2B5EF4-FFF2-40B4-BE49-F238E27FC236}">
                    <a16:creationId xmlns:a16="http://schemas.microsoft.com/office/drawing/2014/main" id="{73E3AA9E-6D63-42E2-9586-D69DEED9646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8" name="Oval 51">
                <a:extLst>
                  <a:ext uri="{FF2B5EF4-FFF2-40B4-BE49-F238E27FC236}">
                    <a16:creationId xmlns:a16="http://schemas.microsoft.com/office/drawing/2014/main" id="{CAE8183A-2A64-47BD-9810-FEF23D21A8CA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9" name="MoonLegend3">
              <a:extLst>
                <a:ext uri="{FF2B5EF4-FFF2-40B4-BE49-F238E27FC236}">
                  <a16:creationId xmlns:a16="http://schemas.microsoft.com/office/drawing/2014/main" id="{1EE12158-9120-4AC4-A156-435C28F1754F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5" name="Oval 47">
                <a:extLst>
                  <a:ext uri="{FF2B5EF4-FFF2-40B4-BE49-F238E27FC236}">
                    <a16:creationId xmlns:a16="http://schemas.microsoft.com/office/drawing/2014/main" id="{ABCB535E-A598-4243-A724-7BB2AC41A33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6" name="Arc 48">
                <a:extLst>
                  <a:ext uri="{FF2B5EF4-FFF2-40B4-BE49-F238E27FC236}">
                    <a16:creationId xmlns:a16="http://schemas.microsoft.com/office/drawing/2014/main" id="{D1F17ADB-09A9-49DE-9D6D-1EE5EE7A2C1C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5503FD4-A96F-45A5-A4FD-CF6C37C839B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1DA3F373-E472-4E13-96E6-1E158D99E15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B35E4E36-246B-4C71-84CB-D4D4ECB58FC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0A562CF6-C6B8-430F-9154-62428E51AE6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B69538CB-3F68-4F76-B6B7-01BFD581E0B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pic>
        <p:nvPicPr>
          <p:cNvPr id="56" name="Picture 55">
            <a:extLst>
              <a:ext uri="{FF2B5EF4-FFF2-40B4-BE49-F238E27FC236}">
                <a16:creationId xmlns:a16="http://schemas.microsoft.com/office/drawing/2014/main" id="{3DF4F7CB-A2A3-4143-87CF-E7BE40A8A1D5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6745548"/>
            <a:ext cx="12192000" cy="11245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4BE0-A3B6-4DDB-AF66-F6ECC7A70CD5}"/>
              </a:ext>
            </a:extLst>
          </p:cNvPr>
          <p:cNvPicPr>
            <a:picLocks noChangeAspect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682515" y="159560"/>
            <a:ext cx="1247987" cy="473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834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90" r:id="rId5"/>
    <p:sldLayoutId id="2147483691" r:id="rId6"/>
    <p:sldLayoutId id="2147483692" r:id="rId7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993740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413" imgH="416" progId="TCLayout.ActiveDocument.1">
                  <p:embed/>
                </p:oleObj>
              </mc:Choice>
              <mc:Fallback>
                <p:oleObj name="think-cell Slide" r:id="rId4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2500" b="0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9677283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879698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dirty="0"/>
              <a:t>Above Chart Exhibit Title</a:t>
            </a:r>
          </a:p>
          <a:p>
            <a:pPr lvl="0" rtl="0"/>
            <a:r>
              <a:rPr lang="en-GB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97CA36DE-E236-4300-8F4F-9A860BCAD198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49" name="Legend1" hidden="1">
              <a:extLst>
                <a:ext uri="{FF2B5EF4-FFF2-40B4-BE49-F238E27FC236}">
                  <a16:creationId xmlns:a16="http://schemas.microsoft.com/office/drawing/2014/main" id="{FD3372B1-E596-4698-B1E7-C5651180DD46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70" name="Legend2" hidden="1">
              <a:extLst>
                <a:ext uri="{FF2B5EF4-FFF2-40B4-BE49-F238E27FC236}">
                  <a16:creationId xmlns:a16="http://schemas.microsoft.com/office/drawing/2014/main" id="{F6296069-F354-47F2-A408-00D4E370925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71" name="Legend3" hidden="1">
              <a:extLst>
                <a:ext uri="{FF2B5EF4-FFF2-40B4-BE49-F238E27FC236}">
                  <a16:creationId xmlns:a16="http://schemas.microsoft.com/office/drawing/2014/main" id="{EA774956-31B3-4EBD-AC8E-09A13FED3045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72" name="LineLegend3" hidden="1">
              <a:extLst>
                <a:ext uri="{FF2B5EF4-FFF2-40B4-BE49-F238E27FC236}">
                  <a16:creationId xmlns:a16="http://schemas.microsoft.com/office/drawing/2014/main" id="{EB68326E-1963-4420-8447-727FC174168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400" baseline="0" dirty="0">
                <a:ea typeface="+mn-ea"/>
              </a:endParaRPr>
            </a:p>
          </p:txBody>
        </p:sp>
        <p:sp>
          <p:nvSpPr>
            <p:cNvPr id="173" name="LineLegend2" hidden="1">
              <a:extLst>
                <a:ext uri="{FF2B5EF4-FFF2-40B4-BE49-F238E27FC236}">
                  <a16:creationId xmlns:a16="http://schemas.microsoft.com/office/drawing/2014/main" id="{5F4D0F31-37A5-445A-A0A9-778BF593458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400" baseline="0" dirty="0">
                <a:ea typeface="+mn-ea"/>
              </a:endParaRPr>
            </a:p>
          </p:txBody>
        </p:sp>
        <p:sp>
          <p:nvSpPr>
            <p:cNvPr id="174" name="LineLegend1" hidden="1">
              <a:extLst>
                <a:ext uri="{FF2B5EF4-FFF2-40B4-BE49-F238E27FC236}">
                  <a16:creationId xmlns:a16="http://schemas.microsoft.com/office/drawing/2014/main" id="{D261855A-32E1-45BB-8A07-F5DA4CBB42A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400" baseline="0" dirty="0">
                <a:ea typeface="+mn-ea"/>
              </a:endParaRPr>
            </a:p>
          </p:txBody>
        </p:sp>
      </p:grpSp>
      <p:grpSp>
        <p:nvGrpSpPr>
          <p:cNvPr id="175" name="LegendMoons" hidden="1">
            <a:extLst>
              <a:ext uri="{FF2B5EF4-FFF2-40B4-BE49-F238E27FC236}">
                <a16:creationId xmlns:a16="http://schemas.microsoft.com/office/drawing/2014/main" id="{E068DDE3-DD22-4EDE-BA56-DF1A7A45A9E7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6" name="Legend1" hidden="1">
              <a:extLst>
                <a:ext uri="{FF2B5EF4-FFF2-40B4-BE49-F238E27FC236}">
                  <a16:creationId xmlns:a16="http://schemas.microsoft.com/office/drawing/2014/main" id="{D5632EA5-0C39-4748-BFE5-E2AE96FF7ACF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77" name="Legend2" hidden="1">
              <a:extLst>
                <a:ext uri="{FF2B5EF4-FFF2-40B4-BE49-F238E27FC236}">
                  <a16:creationId xmlns:a16="http://schemas.microsoft.com/office/drawing/2014/main" id="{4373F8E4-5C8F-4BCB-A3A9-1ABAA834E81A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78" name="Legend3" hidden="1">
              <a:extLst>
                <a:ext uri="{FF2B5EF4-FFF2-40B4-BE49-F238E27FC236}">
                  <a16:creationId xmlns:a16="http://schemas.microsoft.com/office/drawing/2014/main" id="{59A8DBB9-136F-477F-96F1-84B220B77898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86" name="Legend4" hidden="1">
              <a:extLst>
                <a:ext uri="{FF2B5EF4-FFF2-40B4-BE49-F238E27FC236}">
                  <a16:creationId xmlns:a16="http://schemas.microsoft.com/office/drawing/2014/main" id="{31F95B98-DEE6-4654-8B86-B012EC24E0EB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98" name="Legend5" hidden="1">
              <a:extLst>
                <a:ext uri="{FF2B5EF4-FFF2-40B4-BE49-F238E27FC236}">
                  <a16:creationId xmlns:a16="http://schemas.microsoft.com/office/drawing/2014/main" id="{7AC36ED5-70C1-4EB2-BB44-0EB269911719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grpSp>
          <p:nvGrpSpPr>
            <p:cNvPr id="199" name="MoonLegend1" hidden="1">
              <a:extLst>
                <a:ext uri="{FF2B5EF4-FFF2-40B4-BE49-F238E27FC236}">
                  <a16:creationId xmlns:a16="http://schemas.microsoft.com/office/drawing/2014/main" id="{538B38D7-960B-4264-8671-0389367C0DAB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845AD7D1-4B1E-4CD4-8A5B-5B112A150C0C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204647A9-2901-406F-ACAC-464F809441F1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400" dirty="0"/>
              </a:p>
            </p:txBody>
          </p:sp>
        </p:grpSp>
        <p:grpSp>
          <p:nvGrpSpPr>
            <p:cNvPr id="200" name="MoonLegend2" hidden="1">
              <a:extLst>
                <a:ext uri="{FF2B5EF4-FFF2-40B4-BE49-F238E27FC236}">
                  <a16:creationId xmlns:a16="http://schemas.microsoft.com/office/drawing/2014/main" id="{6DBED70A-F276-4B3E-88E9-261D1CF4BA4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9AE680CF-7D3C-4438-83BD-1D0D484C7DB3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4E698355-F5BD-45B3-A675-5FC3462BB11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400" dirty="0"/>
              </a:p>
            </p:txBody>
          </p:sp>
        </p:grpSp>
        <p:grpSp>
          <p:nvGrpSpPr>
            <p:cNvPr id="201" name="MoonLegend3" hidden="1">
              <a:extLst>
                <a:ext uri="{FF2B5EF4-FFF2-40B4-BE49-F238E27FC236}">
                  <a16:creationId xmlns:a16="http://schemas.microsoft.com/office/drawing/2014/main" id="{704967E5-92B9-4BB0-881A-2ED5FD75DA04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D2ED6F0B-FCC6-45D5-886A-7CDB43C18C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C9F37FEE-A6AB-4F7D-B478-5E05BEDC5CD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400" dirty="0"/>
              </a:p>
            </p:txBody>
          </p:sp>
        </p:grpSp>
        <p:grpSp>
          <p:nvGrpSpPr>
            <p:cNvPr id="202" name="MoonLegend4" hidden="1">
              <a:extLst>
                <a:ext uri="{FF2B5EF4-FFF2-40B4-BE49-F238E27FC236}">
                  <a16:creationId xmlns:a16="http://schemas.microsoft.com/office/drawing/2014/main" id="{A00ADE81-BBAF-4C44-A3BE-0FDE3AB1475C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301831C2-6D7B-4EBC-AB12-FF9BAA90F5E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46257A98-B7F8-44BF-A849-52EF775D04D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400" dirty="0"/>
              </a:p>
            </p:txBody>
          </p:sp>
        </p:grpSp>
        <p:grpSp>
          <p:nvGrpSpPr>
            <p:cNvPr id="203" name="MoonLegend5" hidden="1">
              <a:extLst>
                <a:ext uri="{FF2B5EF4-FFF2-40B4-BE49-F238E27FC236}">
                  <a16:creationId xmlns:a16="http://schemas.microsoft.com/office/drawing/2014/main" id="{87CE0EEC-A29E-45AA-AEFB-F95FF411C9BC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4" name="Oval 203" hidden="1">
                <a:extLst>
                  <a:ext uri="{FF2B5EF4-FFF2-40B4-BE49-F238E27FC236}">
                    <a16:creationId xmlns:a16="http://schemas.microsoft.com/office/drawing/2014/main" id="{E7E5A6D4-BDC5-4B8D-BC80-86CC6F417F91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Arc 204" hidden="1">
                <a:extLst>
                  <a:ext uri="{FF2B5EF4-FFF2-40B4-BE49-F238E27FC236}">
                    <a16:creationId xmlns:a16="http://schemas.microsoft.com/office/drawing/2014/main" id="{55F26A73-DF2F-402F-AA50-2BC3344E405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400" dirty="0"/>
              </a:p>
            </p:txBody>
          </p:sp>
        </p:grpSp>
      </p:grpSp>
      <p:grpSp>
        <p:nvGrpSpPr>
          <p:cNvPr id="214" name="LegendBoxes" hidden="1">
            <a:extLst>
              <a:ext uri="{FF2B5EF4-FFF2-40B4-BE49-F238E27FC236}">
                <a16:creationId xmlns:a16="http://schemas.microsoft.com/office/drawing/2014/main" id="{83782A0F-BA45-4B5E-B50A-426AAB816EE2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5" name="RectangleLegend1" hidden="1">
              <a:extLst>
                <a:ext uri="{FF2B5EF4-FFF2-40B4-BE49-F238E27FC236}">
                  <a16:creationId xmlns:a16="http://schemas.microsoft.com/office/drawing/2014/main" id="{45975536-CFC3-4A95-A857-DB4E87E2A7E5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16" name="RectangleLegend2" hidden="1">
              <a:extLst>
                <a:ext uri="{FF2B5EF4-FFF2-40B4-BE49-F238E27FC236}">
                  <a16:creationId xmlns:a16="http://schemas.microsoft.com/office/drawing/2014/main" id="{4E81358E-FCB7-4484-B7BB-55930FA66B29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17" name="RectangleLegend3" hidden="1">
              <a:extLst>
                <a:ext uri="{FF2B5EF4-FFF2-40B4-BE49-F238E27FC236}">
                  <a16:creationId xmlns:a16="http://schemas.microsoft.com/office/drawing/2014/main" id="{BFE73320-6173-4BC0-B459-C934ACFDBFFB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4" hidden="1">
              <a:extLst>
                <a:ext uri="{FF2B5EF4-FFF2-40B4-BE49-F238E27FC236}">
                  <a16:creationId xmlns:a16="http://schemas.microsoft.com/office/drawing/2014/main" id="{CB6F2F02-4E4E-40FE-A61C-724ED5D1313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5" hidden="1">
              <a:extLst>
                <a:ext uri="{FF2B5EF4-FFF2-40B4-BE49-F238E27FC236}">
                  <a16:creationId xmlns:a16="http://schemas.microsoft.com/office/drawing/2014/main" id="{3C79E7A1-B68A-4E00-8677-0C5F010702A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Legend1" hidden="1">
              <a:extLst>
                <a:ext uri="{FF2B5EF4-FFF2-40B4-BE49-F238E27FC236}">
                  <a16:creationId xmlns:a16="http://schemas.microsoft.com/office/drawing/2014/main" id="{2CAF0DFC-B5C7-4599-9762-50638D2A6A4A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221" name="Legend2" hidden="1">
              <a:extLst>
                <a:ext uri="{FF2B5EF4-FFF2-40B4-BE49-F238E27FC236}">
                  <a16:creationId xmlns:a16="http://schemas.microsoft.com/office/drawing/2014/main" id="{B12DD07A-67EF-4333-81BA-B32DF80724C3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222" name="Legend3" hidden="1">
              <a:extLst>
                <a:ext uri="{FF2B5EF4-FFF2-40B4-BE49-F238E27FC236}">
                  <a16:creationId xmlns:a16="http://schemas.microsoft.com/office/drawing/2014/main" id="{C6946D2C-AF77-4EB4-A06B-C0EA817CDA3F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223" name="Legend4" hidden="1">
              <a:extLst>
                <a:ext uri="{FF2B5EF4-FFF2-40B4-BE49-F238E27FC236}">
                  <a16:creationId xmlns:a16="http://schemas.microsoft.com/office/drawing/2014/main" id="{D30AC01C-8F3E-4E6E-B724-D3F1FF5B8174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224" name="Legend5" hidden="1">
              <a:extLst>
                <a:ext uri="{FF2B5EF4-FFF2-40B4-BE49-F238E27FC236}">
                  <a16:creationId xmlns:a16="http://schemas.microsoft.com/office/drawing/2014/main" id="{B36ACFB7-2245-4E68-9913-37CC47FD2B64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</p:grpSp>
      <p:pic>
        <p:nvPicPr>
          <p:cNvPr id="225" name="Picture 224">
            <a:extLst>
              <a:ext uri="{FF2B5EF4-FFF2-40B4-BE49-F238E27FC236}">
                <a16:creationId xmlns:a16="http://schemas.microsoft.com/office/drawing/2014/main" id="{21B560EE-0CCA-428F-B71B-75FCF8087452}"/>
              </a:ext>
            </a:extLst>
          </p:cNvPr>
          <p:cNvPicPr>
            <a:picLocks noChangeAspect="1"/>
          </p:cNvPicPr>
          <p:nvPr userDrawn="1"/>
        </p:nvPicPr>
        <p:blipFill>
          <a:blip r:embed="rId4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6745548"/>
            <a:ext cx="12192000" cy="112451"/>
          </a:xfrm>
          <a:prstGeom prst="rect">
            <a:avLst/>
          </a:prstGeom>
        </p:spPr>
      </p:pic>
      <p:pic>
        <p:nvPicPr>
          <p:cNvPr id="226" name="Picture 225">
            <a:extLst>
              <a:ext uri="{FF2B5EF4-FFF2-40B4-BE49-F238E27FC236}">
                <a16:creationId xmlns:a16="http://schemas.microsoft.com/office/drawing/2014/main" id="{7A74F8D8-BDB5-4AC3-A184-8847EA81F417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389277" y="113260"/>
            <a:ext cx="1247987" cy="473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49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93" r:id="rId20"/>
    <p:sldLayoutId id="2147483694" r:id="rId2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0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075526390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3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6" y="234864"/>
            <a:ext cx="10400267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6" y="566136"/>
            <a:ext cx="1040026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359382"/>
            <a:ext cx="1172548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6" y="6565090"/>
            <a:ext cx="9795570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91399"/>
            <a:ext cx="5801189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3" name="Slide Number">
            <a:extLst>
              <a:ext uri="{FF2B5EF4-FFF2-40B4-BE49-F238E27FC236}">
                <a16:creationId xmlns:a16="http://schemas.microsoft.com/office/drawing/2014/main" id="{353649E6-F239-4927-85D4-283AECD1F37B}"/>
              </a:ext>
            </a:extLst>
          </p:cNvPr>
          <p:cNvSpPr txBox="1">
            <a:spLocks/>
          </p:cNvSpPr>
          <p:nvPr/>
        </p:nvSpPr>
        <p:spPr bwMode="auto">
          <a:xfrm>
            <a:off x="11799760" y="6567069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grpSp>
        <p:nvGrpSpPr>
          <p:cNvPr id="64" name="Sticker" hidden="1">
            <a:extLst>
              <a:ext uri="{FF2B5EF4-FFF2-40B4-BE49-F238E27FC236}">
                <a16:creationId xmlns:a16="http://schemas.microsoft.com/office/drawing/2014/main" id="{B3385648-734C-49F4-B667-6F51DDDD4A81}"/>
              </a:ext>
            </a:extLst>
          </p:cNvPr>
          <p:cNvGrpSpPr/>
          <p:nvPr/>
        </p:nvGrpSpPr>
        <p:grpSpPr bwMode="gray">
          <a:xfrm>
            <a:off x="11441816" y="672142"/>
            <a:ext cx="482978" cy="153874"/>
            <a:chOff x="8267440" y="285750"/>
            <a:chExt cx="473335" cy="150811"/>
          </a:xfrm>
        </p:grpSpPr>
        <p:sp>
          <p:nvSpPr>
            <p:cNvPr id="65" name="StickerRectangle">
              <a:extLst>
                <a:ext uri="{FF2B5EF4-FFF2-40B4-BE49-F238E27FC236}">
                  <a16:creationId xmlns:a16="http://schemas.microsoft.com/office/drawing/2014/main" id="{58291ACD-CD56-4FED-A9A4-C7F84DF3285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66" name="AutoShape 31">
              <a:extLst>
                <a:ext uri="{FF2B5EF4-FFF2-40B4-BE49-F238E27FC236}">
                  <a16:creationId xmlns:a16="http://schemas.microsoft.com/office/drawing/2014/main" id="{271F69C6-784A-4F9B-92E7-2FC9CA9D5A44}"/>
                </a:ext>
              </a:extLst>
            </p:cNvPr>
            <p:cNvCxnSpPr>
              <a:cxnSpLocks noChangeShapeType="1"/>
              <a:stCxn id="65" idx="2"/>
              <a:endCxn id="65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" name="AutoShape 32">
              <a:extLst>
                <a:ext uri="{FF2B5EF4-FFF2-40B4-BE49-F238E27FC236}">
                  <a16:creationId xmlns:a16="http://schemas.microsoft.com/office/drawing/2014/main" id="{4F6813C6-3B09-4DAC-824B-EEE33CBD62DC}"/>
                </a:ext>
              </a:extLst>
            </p:cNvPr>
            <p:cNvCxnSpPr>
              <a:cxnSpLocks noChangeShapeType="1"/>
              <a:stCxn id="65" idx="4"/>
              <a:endCxn id="65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8" name="LegendBoxes" hidden="1">
            <a:extLst>
              <a:ext uri="{FF2B5EF4-FFF2-40B4-BE49-F238E27FC236}">
                <a16:creationId xmlns:a16="http://schemas.microsoft.com/office/drawing/2014/main" id="{BE23765C-EB5F-4AA0-B103-E02E5C8E6AD9}"/>
              </a:ext>
            </a:extLst>
          </p:cNvPr>
          <p:cNvGrpSpPr/>
          <p:nvPr/>
        </p:nvGrpSpPr>
        <p:grpSpPr bwMode="gray">
          <a:xfrm>
            <a:off x="11145480" y="672142"/>
            <a:ext cx="779314" cy="1017727"/>
            <a:chOff x="7835905" y="279400"/>
            <a:chExt cx="763755" cy="997467"/>
          </a:xfrm>
        </p:grpSpPr>
        <p:sp>
          <p:nvSpPr>
            <p:cNvPr id="69" name="RectangleLegend1">
              <a:extLst>
                <a:ext uri="{FF2B5EF4-FFF2-40B4-BE49-F238E27FC236}">
                  <a16:creationId xmlns:a16="http://schemas.microsoft.com/office/drawing/2014/main" id="{CDF1E6B1-39E5-4270-A8D7-6ED89653E5B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70" name="RectangleLegend2">
              <a:extLst>
                <a:ext uri="{FF2B5EF4-FFF2-40B4-BE49-F238E27FC236}">
                  <a16:creationId xmlns:a16="http://schemas.microsoft.com/office/drawing/2014/main" id="{4E0E4E78-BEC6-4761-AD67-5CE5D8AFEB0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71" name="RectangleLegend3">
              <a:extLst>
                <a:ext uri="{FF2B5EF4-FFF2-40B4-BE49-F238E27FC236}">
                  <a16:creationId xmlns:a16="http://schemas.microsoft.com/office/drawing/2014/main" id="{972BF719-BB20-4B17-8C53-2073D2D12ED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72" name="RectangleLegend4">
              <a:extLst>
                <a:ext uri="{FF2B5EF4-FFF2-40B4-BE49-F238E27FC236}">
                  <a16:creationId xmlns:a16="http://schemas.microsoft.com/office/drawing/2014/main" id="{B7C5553E-47A7-4B2A-B054-9A89BBF277A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73" name="Legend1">
              <a:extLst>
                <a:ext uri="{FF2B5EF4-FFF2-40B4-BE49-F238E27FC236}">
                  <a16:creationId xmlns:a16="http://schemas.microsoft.com/office/drawing/2014/main" id="{5283AF3C-BA16-4E45-AB5C-9C7FFA075C7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4" name="Legend2">
              <a:extLst>
                <a:ext uri="{FF2B5EF4-FFF2-40B4-BE49-F238E27FC236}">
                  <a16:creationId xmlns:a16="http://schemas.microsoft.com/office/drawing/2014/main" id="{A824E9CA-98D6-48B9-9022-40686B469C9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BE27AA6A-B50C-4F19-BE97-40F26ECC889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6" name="Legend4">
              <a:extLst>
                <a:ext uri="{FF2B5EF4-FFF2-40B4-BE49-F238E27FC236}">
                  <a16:creationId xmlns:a16="http://schemas.microsoft.com/office/drawing/2014/main" id="{1A215EDD-503E-4867-AA05-B3C6CF28C29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7" name="LegendLines" hidden="1">
            <a:extLst>
              <a:ext uri="{FF2B5EF4-FFF2-40B4-BE49-F238E27FC236}">
                <a16:creationId xmlns:a16="http://schemas.microsoft.com/office/drawing/2014/main" id="{44701BA4-6BC4-4853-8CC1-920B75DEAE8C}"/>
              </a:ext>
            </a:extLst>
          </p:cNvPr>
          <p:cNvGrpSpPr/>
          <p:nvPr/>
        </p:nvGrpSpPr>
        <p:grpSpPr bwMode="gray">
          <a:xfrm>
            <a:off x="10831401" y="672142"/>
            <a:ext cx="1093393" cy="745084"/>
            <a:chOff x="7540629" y="279400"/>
            <a:chExt cx="1071563" cy="730251"/>
          </a:xfrm>
        </p:grpSpPr>
        <p:sp>
          <p:nvSpPr>
            <p:cNvPr id="78" name="LineLegend1">
              <a:extLst>
                <a:ext uri="{FF2B5EF4-FFF2-40B4-BE49-F238E27FC236}">
                  <a16:creationId xmlns:a16="http://schemas.microsoft.com/office/drawing/2014/main" id="{8A5E4828-6488-4D47-9086-08268D6151E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79" name="LineLegend2">
              <a:extLst>
                <a:ext uri="{FF2B5EF4-FFF2-40B4-BE49-F238E27FC236}">
                  <a16:creationId xmlns:a16="http://schemas.microsoft.com/office/drawing/2014/main" id="{C114C4F6-D39E-4879-80E5-045C706143D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80" name="LineLegend3">
              <a:extLst>
                <a:ext uri="{FF2B5EF4-FFF2-40B4-BE49-F238E27FC236}">
                  <a16:creationId xmlns:a16="http://schemas.microsoft.com/office/drawing/2014/main" id="{C20E8B28-1DB2-46CA-AA59-50829282C10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81" name="Legend1">
              <a:extLst>
                <a:ext uri="{FF2B5EF4-FFF2-40B4-BE49-F238E27FC236}">
                  <a16:creationId xmlns:a16="http://schemas.microsoft.com/office/drawing/2014/main" id="{4E3E158E-6E9E-4239-B5B4-0D82C8433CD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2" name="Legend2">
              <a:extLst>
                <a:ext uri="{FF2B5EF4-FFF2-40B4-BE49-F238E27FC236}">
                  <a16:creationId xmlns:a16="http://schemas.microsoft.com/office/drawing/2014/main" id="{6CB3A952-B92E-4517-914F-59DBC79D360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3" name="Legend3">
              <a:extLst>
                <a:ext uri="{FF2B5EF4-FFF2-40B4-BE49-F238E27FC236}">
                  <a16:creationId xmlns:a16="http://schemas.microsoft.com/office/drawing/2014/main" id="{862C9590-4F8C-43BE-922C-C170D75E010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4" name="LegendMoons" hidden="1">
            <a:extLst>
              <a:ext uri="{FF2B5EF4-FFF2-40B4-BE49-F238E27FC236}">
                <a16:creationId xmlns:a16="http://schemas.microsoft.com/office/drawing/2014/main" id="{5176FA49-464A-4031-AA10-CC94B0B7D03D}"/>
              </a:ext>
            </a:extLst>
          </p:cNvPr>
          <p:cNvGrpSpPr/>
          <p:nvPr/>
        </p:nvGrpSpPr>
        <p:grpSpPr bwMode="gray">
          <a:xfrm>
            <a:off x="11077447" y="672142"/>
            <a:ext cx="847347" cy="1333054"/>
            <a:chOff x="7769225" y="250825"/>
            <a:chExt cx="830430" cy="1306516"/>
          </a:xfrm>
        </p:grpSpPr>
        <p:grpSp>
          <p:nvGrpSpPr>
            <p:cNvPr id="85" name="MoonLegend1">
              <a:extLst>
                <a:ext uri="{FF2B5EF4-FFF2-40B4-BE49-F238E27FC236}">
                  <a16:creationId xmlns:a16="http://schemas.microsoft.com/office/drawing/2014/main" id="{0C8AF360-3334-4823-8C5F-61B5037C9E47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3" name="Oval 38">
                <a:extLst>
                  <a:ext uri="{FF2B5EF4-FFF2-40B4-BE49-F238E27FC236}">
                    <a16:creationId xmlns:a16="http://schemas.microsoft.com/office/drawing/2014/main" id="{2F29C6E0-FB3B-4471-AA4A-32588CA7B07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4" name="Arc 39">
                <a:extLst>
                  <a:ext uri="{FF2B5EF4-FFF2-40B4-BE49-F238E27FC236}">
                    <a16:creationId xmlns:a16="http://schemas.microsoft.com/office/drawing/2014/main" id="{EDAA612D-8EE7-49BF-9C3E-8A790436BA0A}"/>
                  </a:ext>
                </a:extLst>
              </p:cNvPr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6" name="MoonLegend2">
              <a:extLst>
                <a:ext uri="{FF2B5EF4-FFF2-40B4-BE49-F238E27FC236}">
                  <a16:creationId xmlns:a16="http://schemas.microsoft.com/office/drawing/2014/main" id="{08CF33FE-5603-4965-8961-47AC13E8FC30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1" name="Oval 41">
                <a:extLst>
                  <a:ext uri="{FF2B5EF4-FFF2-40B4-BE49-F238E27FC236}">
                    <a16:creationId xmlns:a16="http://schemas.microsoft.com/office/drawing/2014/main" id="{57A70A8A-13E1-4BEA-A89C-F23FE7CEC1E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2" name="Arc 42">
                <a:extLst>
                  <a:ext uri="{FF2B5EF4-FFF2-40B4-BE49-F238E27FC236}">
                    <a16:creationId xmlns:a16="http://schemas.microsoft.com/office/drawing/2014/main" id="{9F912FEC-8A74-4EC0-92F6-56FD1C1F0BFD}"/>
                  </a:ext>
                </a:extLst>
              </p:cNvPr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7" name="MoonLegend4">
              <a:extLst>
                <a:ext uri="{FF2B5EF4-FFF2-40B4-BE49-F238E27FC236}">
                  <a16:creationId xmlns:a16="http://schemas.microsoft.com/office/drawing/2014/main" id="{8423DA98-09EE-4316-96B7-053CEA8003B7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9" name="Oval 47">
                <a:extLst>
                  <a:ext uri="{FF2B5EF4-FFF2-40B4-BE49-F238E27FC236}">
                    <a16:creationId xmlns:a16="http://schemas.microsoft.com/office/drawing/2014/main" id="{BE2B8B4E-D86D-4DEE-9938-C29E7FE75E6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0" name="Arc 48">
                <a:extLst>
                  <a:ext uri="{FF2B5EF4-FFF2-40B4-BE49-F238E27FC236}">
                    <a16:creationId xmlns:a16="http://schemas.microsoft.com/office/drawing/2014/main" id="{7D28F3C2-1A95-4DA9-B920-F1CEAC92CA40}"/>
                  </a:ext>
                </a:extLst>
              </p:cNvPr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8" name="MoonLegend5">
              <a:extLst>
                <a:ext uri="{FF2B5EF4-FFF2-40B4-BE49-F238E27FC236}">
                  <a16:creationId xmlns:a16="http://schemas.microsoft.com/office/drawing/2014/main" id="{FE238BE4-3D47-4C56-9819-7B517E271936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7" name="Oval 50">
                <a:extLst>
                  <a:ext uri="{FF2B5EF4-FFF2-40B4-BE49-F238E27FC236}">
                    <a16:creationId xmlns:a16="http://schemas.microsoft.com/office/drawing/2014/main" id="{73E3AA9E-6D63-42E2-9586-D69DEED9646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8" name="Oval 51">
                <a:extLst>
                  <a:ext uri="{FF2B5EF4-FFF2-40B4-BE49-F238E27FC236}">
                    <a16:creationId xmlns:a16="http://schemas.microsoft.com/office/drawing/2014/main" id="{CAE8183A-2A64-47BD-9810-FEF23D21A8CA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89" name="MoonLegend3">
              <a:extLst>
                <a:ext uri="{FF2B5EF4-FFF2-40B4-BE49-F238E27FC236}">
                  <a16:creationId xmlns:a16="http://schemas.microsoft.com/office/drawing/2014/main" id="{1EE12158-9120-4AC4-A156-435C28F1754F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5" name="Oval 47">
                <a:extLst>
                  <a:ext uri="{FF2B5EF4-FFF2-40B4-BE49-F238E27FC236}">
                    <a16:creationId xmlns:a16="http://schemas.microsoft.com/office/drawing/2014/main" id="{ABCB535E-A598-4243-A724-7BB2AC41A33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96" name="Arc 48">
                <a:extLst>
                  <a:ext uri="{FF2B5EF4-FFF2-40B4-BE49-F238E27FC236}">
                    <a16:creationId xmlns:a16="http://schemas.microsoft.com/office/drawing/2014/main" id="{D1F17ADB-09A9-49DE-9D6D-1EE5EE7A2C1C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0" name="Legend1">
              <a:extLst>
                <a:ext uri="{FF2B5EF4-FFF2-40B4-BE49-F238E27FC236}">
                  <a16:creationId xmlns:a16="http://schemas.microsoft.com/office/drawing/2014/main" id="{E5503FD4-A96F-45A5-A4FD-CF6C37C839B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1" name="Legend2">
              <a:extLst>
                <a:ext uri="{FF2B5EF4-FFF2-40B4-BE49-F238E27FC236}">
                  <a16:creationId xmlns:a16="http://schemas.microsoft.com/office/drawing/2014/main" id="{1DA3F373-E472-4E13-96E6-1E158D99E15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2" name="Legend3">
              <a:extLst>
                <a:ext uri="{FF2B5EF4-FFF2-40B4-BE49-F238E27FC236}">
                  <a16:creationId xmlns:a16="http://schemas.microsoft.com/office/drawing/2014/main" id="{B35E4E36-246B-4C71-84CB-D4D4ECB58FC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3" name="Legend4">
              <a:extLst>
                <a:ext uri="{FF2B5EF4-FFF2-40B4-BE49-F238E27FC236}">
                  <a16:creationId xmlns:a16="http://schemas.microsoft.com/office/drawing/2014/main" id="{0A562CF6-C6B8-430F-9154-62428E51AE6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4" name="Legend5">
              <a:extLst>
                <a:ext uri="{FF2B5EF4-FFF2-40B4-BE49-F238E27FC236}">
                  <a16:creationId xmlns:a16="http://schemas.microsoft.com/office/drawing/2014/main" id="{B69538CB-3F68-4F76-B6B7-01BFD581E0B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pic>
        <p:nvPicPr>
          <p:cNvPr id="56" name="Picture 55">
            <a:extLst>
              <a:ext uri="{FF2B5EF4-FFF2-40B4-BE49-F238E27FC236}">
                <a16:creationId xmlns:a16="http://schemas.microsoft.com/office/drawing/2014/main" id="{3DF4F7CB-A2A3-4143-87CF-E7BE40A8A1D5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6745548"/>
            <a:ext cx="12192000" cy="11245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4BE0-A3B6-4DDB-AF66-F6ECC7A70CD5}"/>
              </a:ext>
            </a:extLst>
          </p:cNvPr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682515" y="159560"/>
            <a:ext cx="1247987" cy="473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963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98" r:id="rId4"/>
    <p:sldLayoutId id="2147483711" r:id="rId5"/>
    <p:sldLayoutId id="2147483712" r:id="rId6"/>
    <p:sldLayoutId id="2147483713" r:id="rId7"/>
    <p:sldLayoutId id="2147483726" r:id="rId8"/>
    <p:sldLayoutId id="2147483727" r:id="rId9"/>
    <p:sldLayoutId id="2147483728" r:id="rId10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234.xml"/><Relationship Id="rId7" Type="http://schemas.openxmlformats.org/officeDocument/2006/relationships/slideLayout" Target="../slideLayouts/slideLayout29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tags" Target="../tags/tag237.xml"/><Relationship Id="rId5" Type="http://schemas.openxmlformats.org/officeDocument/2006/relationships/tags" Target="../tags/tag236.xml"/><Relationship Id="rId10" Type="http://schemas.openxmlformats.org/officeDocument/2006/relationships/image" Target="../media/image8.emf"/><Relationship Id="rId4" Type="http://schemas.openxmlformats.org/officeDocument/2006/relationships/tags" Target="../tags/tag235.xml"/><Relationship Id="rId9" Type="http://schemas.openxmlformats.org/officeDocument/2006/relationships/oleObject" Target="../embeddings/oleObject33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5A55B2-E318-49D1-8850-BB80D38F46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5A55B2-E318-49D1-8850-BB80D38F4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6DBE4B7-2C87-442E-9D26-08D9640DB4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2A057A8-B241-4DD9-AE88-A90089648BC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30269" y="23854"/>
            <a:ext cx="9194960" cy="43416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  <a:defRPr/>
            </a:pPr>
            <a:endParaRPr lang="en-US" sz="4000" dirty="0">
              <a:latin typeface="Cambria" panose="02040503050406030204" pitchFamily="18" charset="0"/>
            </a:endParaRPr>
          </a:p>
          <a:p>
            <a:pPr algn="ctr" fontAlgn="auto">
              <a:spcAft>
                <a:spcPts val="0"/>
              </a:spcAft>
              <a:defRPr/>
            </a:pPr>
            <a:endParaRPr lang="en-US" sz="4000" dirty="0">
              <a:latin typeface="Cambria" panose="02040503050406030204" pitchFamily="18" charset="0"/>
            </a:endParaRPr>
          </a:p>
          <a:p>
            <a:pPr algn="ctr" fontAlgn="auto">
              <a:spcAft>
                <a:spcPts val="0"/>
              </a:spcAft>
              <a:defRPr/>
            </a:pPr>
            <a:endParaRPr lang="en-US" sz="4000" dirty="0">
              <a:latin typeface="Cambria" panose="02040503050406030204" pitchFamily="18" charset="0"/>
            </a:endParaRPr>
          </a:p>
          <a:p>
            <a:pPr algn="ctr" fontAlgn="auto">
              <a:spcAft>
                <a:spcPts val="0"/>
              </a:spcAft>
              <a:defRPr/>
            </a:pPr>
            <a:endParaRPr lang="en-US" sz="4000" dirty="0">
              <a:latin typeface="Cambria" panose="02040503050406030204" pitchFamily="18" charset="0"/>
            </a:endParaRPr>
          </a:p>
          <a:p>
            <a:pPr algn="ctr" fontAlgn="auto">
              <a:spcAft>
                <a:spcPts val="0"/>
              </a:spcAft>
              <a:defRPr/>
            </a:pPr>
            <a:endParaRPr lang="en-US" sz="4000" dirty="0">
              <a:latin typeface="Cambria" panose="02040503050406030204" pitchFamily="18" charset="0"/>
            </a:endParaRPr>
          </a:p>
          <a:p>
            <a:pPr algn="ctr" fontAlgn="auto">
              <a:spcAft>
                <a:spcPts val="0"/>
              </a:spcAft>
              <a:defRPr/>
            </a:pPr>
            <a:endParaRPr lang="en-US" sz="4000" dirty="0">
              <a:latin typeface="Cambria" panose="02040503050406030204" pitchFamily="18" charset="0"/>
            </a:endParaRPr>
          </a:p>
          <a:p>
            <a:pPr algn="ctr" fontAlgn="auto">
              <a:spcAft>
                <a:spcPts val="0"/>
              </a:spcAft>
              <a:defRPr/>
            </a:pPr>
            <a:endParaRPr lang="en-US" sz="4000" dirty="0">
              <a:latin typeface="Cambria" panose="02040503050406030204" pitchFamily="18" charset="0"/>
            </a:endParaRPr>
          </a:p>
          <a:p>
            <a:pPr algn="ctr" fontAlgn="auto">
              <a:spcAft>
                <a:spcPts val="0"/>
              </a:spcAft>
              <a:defRPr/>
            </a:pPr>
            <a:endParaRPr lang="en-US" sz="4000" dirty="0">
              <a:latin typeface="Cambria" panose="02040503050406030204" pitchFamily="18" charset="0"/>
            </a:endParaRPr>
          </a:p>
          <a:p>
            <a:pPr algn="ctr" fontAlgn="auto">
              <a:spcAft>
                <a:spcPts val="0"/>
              </a:spcAft>
              <a:defRPr/>
            </a:pPr>
            <a:r>
              <a:rPr lang="en-US" sz="4000" dirty="0">
                <a:latin typeface="Cambria" panose="02040503050406030204" pitchFamily="18" charset="0"/>
              </a:rPr>
              <a:t>OVERVIEW OF TAX, </a:t>
            </a:r>
          </a:p>
          <a:p>
            <a:pPr algn="ctr" fontAlgn="auto">
              <a:spcAft>
                <a:spcPts val="0"/>
              </a:spcAft>
              <a:defRPr/>
            </a:pPr>
            <a:r>
              <a:rPr lang="en-US" sz="4000" dirty="0">
                <a:latin typeface="Cambria" panose="02040503050406030204" pitchFamily="18" charset="0"/>
              </a:rPr>
              <a:t>REGISTRATION AND VAT RELATED ISSUES</a:t>
            </a:r>
          </a:p>
          <a:p>
            <a:pPr algn="ctr" fontAlgn="auto">
              <a:spcAft>
                <a:spcPts val="0"/>
              </a:spcAft>
              <a:defRPr/>
            </a:pPr>
            <a:r>
              <a:rPr lang="en-US" sz="4000" dirty="0">
                <a:latin typeface="Cambria" panose="02040503050406030204" pitchFamily="18" charset="0"/>
              </a:rPr>
              <a:t>A PRESENTATION TO MEMBERS OF GHANA INSTITUTION OF ENGINEERIG</a:t>
            </a:r>
          </a:p>
          <a:p>
            <a:pPr algn="ctr" fontAlgn="auto">
              <a:spcAft>
                <a:spcPts val="0"/>
              </a:spcAft>
              <a:defRPr/>
            </a:pPr>
            <a:endParaRPr kumimoji="0" lang="en-GB" sz="4000" b="1" i="0" u="none" strike="noStrike" kern="1200" cap="none" spc="0" normalizeH="0" baseline="0" noProof="0" dirty="0">
              <a:ln w="6350" cap="flat">
                <a:noFill/>
                <a:miter lim="800000"/>
              </a:ln>
              <a:effectLst/>
              <a:uLnTx/>
              <a:uFillTx/>
              <a:latin typeface="Georgia"/>
              <a:ea typeface="+mj-ea"/>
              <a:cs typeface="+mj-cs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1A28F95B-6A4D-4367-B8A9-41A38C9AE7D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30269" y="3524420"/>
            <a:ext cx="8356916" cy="81726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63E8072E-CDD8-4C64-9C34-50B269D83E7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51941" y="5748081"/>
            <a:ext cx="8135243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US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URSDAY. 7</a:t>
            </a:r>
            <a:r>
              <a:rPr lang="en-US" sz="1600" b="1" baseline="30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EPTEMBER,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2023                                                                BY ANUKA, BRANDEN ELVIS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FF91A2F1-3F38-40CE-9BF4-7744796859BC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51942" y="6125154"/>
            <a:ext cx="6016752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6646A4E-288B-3023-328E-EC3087D18EE2}"/>
              </a:ext>
            </a:extLst>
          </p:cNvPr>
          <p:cNvSpPr txBox="1"/>
          <p:nvPr/>
        </p:nvSpPr>
        <p:spPr>
          <a:xfrm>
            <a:off x="492982" y="4341685"/>
            <a:ext cx="6871778" cy="594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T THE ENGINEERING CENTRE, 13 CONTINENTAL ROAD, ROMAN RIDGE, ACCR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30529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10125A-799D-F26F-5DC2-92C753C1E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34864"/>
            <a:ext cx="10828962" cy="738664"/>
          </a:xfrm>
        </p:spPr>
        <p:txBody>
          <a:bodyPr/>
          <a:lstStyle/>
          <a:p>
            <a:pPr algn="ctr"/>
            <a:r>
              <a:rPr lang="en-GH" sz="2400" dirty="0">
                <a:latin typeface="Times" pitchFamily="2" charset="0"/>
                <a:cs typeface="Calibri" panose="020F0502020204030204" pitchFamily="34" charset="0"/>
              </a:rPr>
              <a:t>PECULIAR ISSUES WITH RESPECT TO VAT REGISTRATION FOR CONTRACTORS/CIVIL ENGINEERS</a:t>
            </a:r>
            <a:endParaRPr lang="en-GH" sz="2400" dirty="0">
              <a:latin typeface="Times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8588C83-20F9-055D-FDF2-924A72AC6675}"/>
              </a:ext>
            </a:extLst>
          </p:cNvPr>
          <p:cNvSpPr txBox="1"/>
          <p:nvPr/>
        </p:nvSpPr>
        <p:spPr>
          <a:xfrm>
            <a:off x="738026" y="973528"/>
            <a:ext cx="10933417" cy="3028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GB" dirty="0"/>
              <a:t>A</a:t>
            </a:r>
            <a:r>
              <a:rPr lang="en-GH" dirty="0"/>
              <a:t>RE ‘CONTRACTORS’ AND ‘CIVIL ENGINEERS’ QUALIFIED FOR VAT REGISTRATION ?</a:t>
            </a:r>
          </a:p>
          <a:p>
            <a:pPr>
              <a:lnSpc>
                <a:spcPct val="200000"/>
              </a:lnSpc>
            </a:pPr>
            <a:r>
              <a:rPr lang="en-GB" dirty="0"/>
              <a:t>IF SO WHAT ARE THE AREAS OF THEIR SERVICES THAT ARE “VATABLE”?</a:t>
            </a:r>
          </a:p>
          <a:p>
            <a:pPr>
              <a:lnSpc>
                <a:spcPct val="200000"/>
              </a:lnSpc>
            </a:pPr>
            <a:endParaRPr lang="en-GB" dirty="0"/>
          </a:p>
          <a:p>
            <a:pPr marL="285750" indent="-285750">
              <a:lnSpc>
                <a:spcPct val="200000"/>
              </a:lnSpc>
              <a:buFont typeface="Wingdings" pitchFamily="2" charset="2"/>
              <a:buChar char="Ø"/>
            </a:pPr>
            <a:r>
              <a:rPr lang="en-GB" dirty="0"/>
              <a:t>Under paragraph </a:t>
            </a:r>
            <a:r>
              <a:rPr lang="en-GB" b="1" i="1" dirty="0"/>
              <a:t>e</a:t>
            </a:r>
            <a:r>
              <a:rPr lang="en-GB" dirty="0"/>
              <a:t> of the First Schedule of the Value Added Tax Act, 2013 (Act 870) “estate developer” means a commercial establishment engaged in the business of construction and sale of immovable property.</a:t>
            </a:r>
          </a:p>
          <a:p>
            <a:pPr marL="285750" indent="-285750">
              <a:lnSpc>
                <a:spcPct val="200000"/>
              </a:lnSpc>
              <a:buFont typeface="Wingdings" pitchFamily="2" charset="2"/>
              <a:buChar char="Ø"/>
            </a:pPr>
            <a:r>
              <a:rPr lang="en-GB" dirty="0"/>
              <a:t>Civil Engineering works of a public nature are exempt from VAT as long as the source of funding is a public fund.</a:t>
            </a:r>
          </a:p>
        </p:txBody>
      </p:sp>
    </p:spTree>
    <p:extLst>
      <p:ext uri="{BB962C8B-B14F-4D97-AF65-F5344CB8AC3E}">
        <p14:creationId xmlns:p14="http://schemas.microsoft.com/office/powerpoint/2010/main" val="20780807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222254-345A-65CF-C68C-CA6D6218AB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9532" y="2649291"/>
            <a:ext cx="10400267" cy="314028"/>
          </a:xfrm>
        </p:spPr>
        <p:txBody>
          <a:bodyPr/>
          <a:lstStyle/>
          <a:p>
            <a:pPr algn="ctr"/>
            <a:r>
              <a:rPr lang="en-GH" dirty="0"/>
              <a:t>ANY QUESTIONS AND CONTRIBUTIONS PLEASE?</a:t>
            </a:r>
          </a:p>
        </p:txBody>
      </p:sp>
    </p:spTree>
    <p:extLst>
      <p:ext uri="{BB962C8B-B14F-4D97-AF65-F5344CB8AC3E}">
        <p14:creationId xmlns:p14="http://schemas.microsoft.com/office/powerpoint/2010/main" val="26116769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D6FD7E2-80C6-41C1-BFFB-675C0FE40455}"/>
              </a:ext>
            </a:extLst>
          </p:cNvPr>
          <p:cNvSpPr txBox="1"/>
          <p:nvPr/>
        </p:nvSpPr>
        <p:spPr>
          <a:xfrm flipV="1">
            <a:off x="1625600" y="507999"/>
            <a:ext cx="7918272" cy="117565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6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4D9B375-3F88-4928-89E4-F4EEA0B78F46}"/>
              </a:ext>
            </a:extLst>
          </p:cNvPr>
          <p:cNvSpPr/>
          <p:nvPr/>
        </p:nvSpPr>
        <p:spPr>
          <a:xfrm>
            <a:off x="3761162" y="1327220"/>
            <a:ext cx="364715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0024281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53B1EB-9DFD-8EAB-055C-5D126719C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5866" y="2813677"/>
            <a:ext cx="10400267" cy="369332"/>
          </a:xfrm>
        </p:spPr>
        <p:txBody>
          <a:bodyPr/>
          <a:lstStyle/>
          <a:p>
            <a:pPr algn="ctr"/>
            <a:r>
              <a:rPr lang="en-GH" sz="2400" b="1" dirty="0">
                <a:latin typeface="Times" pitchFamily="2" charset="0"/>
              </a:rPr>
              <a:t>PLEASE, WHAT IS YOUR EXPECTATION OF THIS PRESENTATION?</a:t>
            </a:r>
          </a:p>
        </p:txBody>
      </p:sp>
    </p:spTree>
    <p:extLst>
      <p:ext uri="{BB962C8B-B14F-4D97-AF65-F5344CB8AC3E}">
        <p14:creationId xmlns:p14="http://schemas.microsoft.com/office/powerpoint/2010/main" val="15275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9590C3-F5A9-BA3C-C076-C10BC3FBC4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86" y="234864"/>
            <a:ext cx="10400267" cy="369332"/>
          </a:xfrm>
        </p:spPr>
        <p:txBody>
          <a:bodyPr/>
          <a:lstStyle/>
          <a:p>
            <a:pPr algn="ctr"/>
            <a:r>
              <a:rPr lang="en-GH" sz="2400" b="1" dirty="0">
                <a:latin typeface="Times" pitchFamily="2" charset="0"/>
              </a:rPr>
              <a:t>PRESENTATION OUTLINE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58DF20-BE61-F336-DCCE-9B7C8DBD12C2}"/>
              </a:ext>
            </a:extLst>
          </p:cNvPr>
          <p:cNvSpPr txBox="1"/>
          <p:nvPr/>
        </p:nvSpPr>
        <p:spPr>
          <a:xfrm>
            <a:off x="719191" y="1171254"/>
            <a:ext cx="10726220" cy="4738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50000"/>
              </a:lnSpc>
              <a:buFont typeface="Wingdings" pitchFamily="2" charset="2"/>
              <a:buChar char="v"/>
            </a:pPr>
            <a:r>
              <a:rPr lang="en-GH" dirty="0">
                <a:latin typeface="Calibri" panose="020F0502020204030204" pitchFamily="34" charset="0"/>
                <a:cs typeface="Calibri" panose="020F0502020204030204" pitchFamily="34" charset="0"/>
              </a:rPr>
              <a:t>WHO IS A TAXPAYER?</a:t>
            </a:r>
          </a:p>
          <a:p>
            <a:pPr marL="285750" indent="-285750">
              <a:lnSpc>
                <a:spcPct val="250000"/>
              </a:lnSpc>
              <a:buFont typeface="Wingdings" pitchFamily="2" charset="2"/>
              <a:buChar char="v"/>
            </a:pPr>
            <a:r>
              <a:rPr lang="en-GH" dirty="0">
                <a:latin typeface="Calibri" panose="020F0502020204030204" pitchFamily="34" charset="0"/>
                <a:cs typeface="Calibri" panose="020F0502020204030204" pitchFamily="34" charset="0"/>
              </a:rPr>
              <a:t>WHAT DOES IT TAKE TO REGISTER WITH THE GHANA REVENUE AUTHORITY (GRA)?</a:t>
            </a:r>
          </a:p>
          <a:p>
            <a:pPr marL="285750" indent="-285750">
              <a:lnSpc>
                <a:spcPct val="250000"/>
              </a:lnSpc>
              <a:buFont typeface="Wingdings" pitchFamily="2" charset="2"/>
              <a:buChar char="v"/>
            </a:pPr>
            <a:r>
              <a:rPr lang="en-GH" dirty="0">
                <a:latin typeface="Calibri" panose="020F0502020204030204" pitchFamily="34" charset="0"/>
                <a:cs typeface="Calibri" panose="020F0502020204030204" pitchFamily="34" charset="0"/>
              </a:rPr>
              <a:t>WHAT DOCUMENTS ARE AVAILABLE TO ATTEST TO VARIOUS REGISTRATIONS WITH THE AUTHORITY (GRA)</a:t>
            </a:r>
          </a:p>
          <a:p>
            <a:pPr marL="285750" indent="-285750">
              <a:lnSpc>
                <a:spcPct val="250000"/>
              </a:lnSpc>
              <a:buFont typeface="Wingdings" pitchFamily="2" charset="2"/>
              <a:buChar char="v"/>
            </a:pPr>
            <a:r>
              <a:rPr lang="en-GH" dirty="0">
                <a:latin typeface="Calibri" panose="020F0502020204030204" pitchFamily="34" charset="0"/>
                <a:cs typeface="Calibri" panose="020F0502020204030204" pitchFamily="34" charset="0"/>
              </a:rPr>
              <a:t>WHAT IS VALUE ADDED TAX (VAT) UNDER ACT 870 (2013)</a:t>
            </a:r>
          </a:p>
          <a:p>
            <a:pPr marL="285750" indent="-285750">
              <a:lnSpc>
                <a:spcPct val="250000"/>
              </a:lnSpc>
              <a:buFont typeface="Wingdings" pitchFamily="2" charset="2"/>
              <a:buChar char="v"/>
            </a:pPr>
            <a:r>
              <a:rPr lang="en-GH" dirty="0">
                <a:latin typeface="Calibri" panose="020F0502020204030204" pitchFamily="34" charset="0"/>
                <a:cs typeface="Calibri" panose="020F0502020204030204" pitchFamily="34" charset="0"/>
              </a:rPr>
              <a:t>TYPES OF VAT SCHEMES</a:t>
            </a:r>
          </a:p>
          <a:p>
            <a:pPr marL="285750" indent="-285750">
              <a:lnSpc>
                <a:spcPct val="250000"/>
              </a:lnSpc>
              <a:buFont typeface="Wingdings" pitchFamily="2" charset="2"/>
              <a:buChar char="v"/>
            </a:pPr>
            <a:r>
              <a:rPr lang="en-GH" dirty="0">
                <a:latin typeface="Calibri" panose="020F0502020204030204" pitchFamily="34" charset="0"/>
                <a:cs typeface="Calibri" panose="020F0502020204030204" pitchFamily="34" charset="0"/>
              </a:rPr>
              <a:t>REQUIREMENTS FOR VAT REGISTRATION</a:t>
            </a:r>
          </a:p>
          <a:p>
            <a:pPr marL="285750" indent="-285750">
              <a:lnSpc>
                <a:spcPct val="250000"/>
              </a:lnSpc>
              <a:buFont typeface="Wingdings" pitchFamily="2" charset="2"/>
              <a:buChar char="v"/>
            </a:pPr>
            <a:r>
              <a:rPr lang="en-GH" dirty="0">
                <a:latin typeface="Calibri" panose="020F0502020204030204" pitchFamily="34" charset="0"/>
                <a:cs typeface="Calibri" panose="020F0502020204030204" pitchFamily="34" charset="0"/>
              </a:rPr>
              <a:t>PECULIAR ISSUES WITH RESPECT TO VAT REGISTRATION FOR CONTRACTORS/CIVIL ENGINEERS</a:t>
            </a:r>
          </a:p>
          <a:p>
            <a:pPr marL="285750" indent="-285750">
              <a:buFont typeface="Wingdings" pitchFamily="2" charset="2"/>
              <a:buChar char="v"/>
            </a:pPr>
            <a:endParaRPr lang="en-GH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32461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6AD24-75D2-AB2F-9F8F-730D19CDF2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86" y="234864"/>
            <a:ext cx="10400267" cy="369332"/>
          </a:xfrm>
        </p:spPr>
        <p:txBody>
          <a:bodyPr/>
          <a:lstStyle/>
          <a:p>
            <a:pPr algn="ctr"/>
            <a:r>
              <a:rPr lang="en-GH" sz="2400" dirty="0">
                <a:latin typeface="Times" pitchFamily="2" charset="0"/>
                <a:cs typeface="Calibri" panose="020F0502020204030204" pitchFamily="34" charset="0"/>
              </a:rPr>
              <a:t>WHO IS A TAXPAYER?</a:t>
            </a:r>
            <a:endParaRPr lang="en-GH" sz="2400" dirty="0">
              <a:latin typeface="Times" pitchFamily="2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B6EF50E-AEEB-0730-FDC2-690E0ACF51E3}"/>
              </a:ext>
            </a:extLst>
          </p:cNvPr>
          <p:cNvSpPr txBox="1"/>
          <p:nvPr/>
        </p:nvSpPr>
        <p:spPr>
          <a:xfrm>
            <a:off x="161986" y="542641"/>
            <a:ext cx="12030014" cy="6105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H" dirty="0">
                <a:latin typeface="Calibri" panose="020F0502020204030204" pitchFamily="34" charset="0"/>
                <a:cs typeface="Calibri" panose="020F0502020204030204" pitchFamily="34" charset="0"/>
              </a:rPr>
              <a:t>Per the Revenue Administration (RAA) Act, 2016 (Act 915), Section 9(3) states that a Taxpayer is a person liable to pay TAX.</a:t>
            </a:r>
          </a:p>
          <a:p>
            <a:pPr>
              <a:lnSpc>
                <a:spcPct val="150000"/>
              </a:lnSpc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en-GH" dirty="0">
                <a:latin typeface="Calibri" panose="020F0502020204030204" pitchFamily="34" charset="0"/>
                <a:cs typeface="Calibri" panose="020F0502020204030204" pitchFamily="34" charset="0"/>
              </a:rPr>
              <a:t>he question then is, are all entities and persons taxpayers ?</a:t>
            </a:r>
          </a:p>
          <a:p>
            <a:pPr>
              <a:lnSpc>
                <a:spcPct val="150000"/>
              </a:lnSpc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L</a:t>
            </a:r>
            <a:r>
              <a:rPr lang="en-GH" dirty="0">
                <a:latin typeface="Calibri" panose="020F0502020204030204" pitchFamily="34" charset="0"/>
                <a:cs typeface="Calibri" panose="020F0502020204030204" pitchFamily="34" charset="0"/>
              </a:rPr>
              <a:t>ets see what the law defines as a ‘tax’ then</a:t>
            </a:r>
          </a:p>
          <a:p>
            <a:pPr>
              <a:lnSpc>
                <a:spcPct val="150000"/>
              </a:lnSpc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U</a:t>
            </a:r>
            <a:r>
              <a:rPr lang="en-GH" dirty="0">
                <a:latin typeface="Calibri" panose="020F0502020204030204" pitchFamily="34" charset="0"/>
                <a:cs typeface="Calibri" panose="020F0502020204030204" pitchFamily="34" charset="0"/>
              </a:rPr>
              <a:t>nder the RAA (Act 915) Section 9(1) tax means: 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v"/>
            </a:pPr>
            <a:r>
              <a:rPr lang="en-GH" sz="2400" dirty="0">
                <a:latin typeface="Calibri" panose="020F0502020204030204" pitchFamily="34" charset="0"/>
                <a:cs typeface="Calibri" panose="020F0502020204030204" pitchFamily="34" charset="0"/>
              </a:rPr>
              <a:t>A duty 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v"/>
            </a:pPr>
            <a:r>
              <a:rPr lang="en-GH" sz="2400" dirty="0">
                <a:latin typeface="Calibri" panose="020F0502020204030204" pitchFamily="34" charset="0"/>
                <a:cs typeface="Calibri" panose="020F0502020204030204" pitchFamily="34" charset="0"/>
              </a:rPr>
              <a:t>Levy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v"/>
            </a:pPr>
            <a:r>
              <a:rPr lang="en-GH" sz="2400" dirty="0">
                <a:latin typeface="Calibri" panose="020F0502020204030204" pitchFamily="34" charset="0"/>
                <a:cs typeface="Calibri" panose="020F0502020204030204" pitchFamily="34" charset="0"/>
              </a:rPr>
              <a:t>Charge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v"/>
            </a:pPr>
            <a:r>
              <a:rPr lang="en-GH" sz="2400" dirty="0">
                <a:latin typeface="Calibri" panose="020F0502020204030204" pitchFamily="34" charset="0"/>
                <a:cs typeface="Calibri" panose="020F0502020204030204" pitchFamily="34" charset="0"/>
              </a:rPr>
              <a:t>Rate 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v"/>
            </a:pPr>
            <a:r>
              <a:rPr lang="en-GH" sz="2400" dirty="0">
                <a:latin typeface="Calibri" panose="020F0502020204030204" pitchFamily="34" charset="0"/>
                <a:cs typeface="Calibri" panose="020F0502020204030204" pitchFamily="34" charset="0"/>
              </a:rPr>
              <a:t>Fee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v"/>
            </a:pPr>
            <a:r>
              <a:rPr lang="en-GH" sz="2400" dirty="0">
                <a:latin typeface="Calibri" panose="020F0502020204030204" pitchFamily="34" charset="0"/>
                <a:cs typeface="Calibri" panose="020F0502020204030204" pitchFamily="34" charset="0"/>
              </a:rPr>
              <a:t>Interest 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v"/>
            </a:pPr>
            <a:r>
              <a:rPr lang="en-GH" sz="2400" dirty="0">
                <a:latin typeface="Calibri" panose="020F0502020204030204" pitchFamily="34" charset="0"/>
                <a:cs typeface="Calibri" panose="020F0502020204030204" pitchFamily="34" charset="0"/>
              </a:rPr>
              <a:t>Penalty or </a:t>
            </a:r>
          </a:p>
          <a:p>
            <a:pPr>
              <a:lnSpc>
                <a:spcPct val="150000"/>
              </a:lnSpc>
            </a:pPr>
            <a:r>
              <a:rPr lang="en-GH" dirty="0">
                <a:latin typeface="Calibri" panose="020F0502020204030204" pitchFamily="34" charset="0"/>
                <a:cs typeface="Calibri" panose="020F0502020204030204" pitchFamily="34" charset="0"/>
              </a:rPr>
              <a:t>any other </a:t>
            </a:r>
            <a:r>
              <a:rPr lang="en-GH" b="1" dirty="0">
                <a:latin typeface="Calibri" panose="020F0502020204030204" pitchFamily="34" charset="0"/>
                <a:cs typeface="Calibri" panose="020F0502020204030204" pitchFamily="34" charset="0"/>
              </a:rPr>
              <a:t>amount imposed </a:t>
            </a:r>
            <a:r>
              <a:rPr lang="en-GH" dirty="0">
                <a:latin typeface="Calibri" panose="020F0502020204030204" pitchFamily="34" charset="0"/>
                <a:cs typeface="Calibri" panose="020F0502020204030204" pitchFamily="34" charset="0"/>
              </a:rPr>
              <a:t>by a </a:t>
            </a:r>
            <a:r>
              <a:rPr lang="en-GH" b="1" dirty="0">
                <a:latin typeface="Calibri" panose="020F0502020204030204" pitchFamily="34" charset="0"/>
                <a:cs typeface="Calibri" panose="020F0502020204030204" pitchFamily="34" charset="0"/>
              </a:rPr>
              <a:t>tax law </a:t>
            </a:r>
            <a:r>
              <a:rPr lang="en-GH" dirty="0">
                <a:latin typeface="Calibri" panose="020F0502020204030204" pitchFamily="34" charset="0"/>
                <a:cs typeface="Calibri" panose="020F0502020204030204" pitchFamily="34" charset="0"/>
              </a:rPr>
              <a:t>or to be collected by, or paid to, the </a:t>
            </a:r>
            <a:r>
              <a:rPr lang="en-GH" b="1" dirty="0">
                <a:latin typeface="Calibri" panose="020F0502020204030204" pitchFamily="34" charset="0"/>
                <a:cs typeface="Calibri" panose="020F0502020204030204" pitchFamily="34" charset="0"/>
              </a:rPr>
              <a:t>Commissioner-General</a:t>
            </a:r>
            <a:r>
              <a:rPr lang="en-GH" dirty="0">
                <a:latin typeface="Calibri" panose="020F0502020204030204" pitchFamily="34" charset="0"/>
                <a:cs typeface="Calibri" panose="020F0502020204030204" pitchFamily="34" charset="0"/>
              </a:rPr>
              <a:t> under a tax law.</a:t>
            </a:r>
          </a:p>
          <a:p>
            <a:r>
              <a:rPr lang="en-GH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579917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6D881F-A522-D23F-FC21-8AD0FA795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86" y="0"/>
            <a:ext cx="10400267" cy="738664"/>
          </a:xfrm>
        </p:spPr>
        <p:txBody>
          <a:bodyPr/>
          <a:lstStyle/>
          <a:p>
            <a:pPr algn="ctr"/>
            <a:r>
              <a:rPr lang="en-GH" sz="2400" dirty="0">
                <a:latin typeface="Times" pitchFamily="2" charset="0"/>
                <a:cs typeface="Calibri" panose="020F0502020204030204" pitchFamily="34" charset="0"/>
              </a:rPr>
              <a:t>WHAT DOES IT TAKE TO REGISTER WITH THE GHANA REVENUE AUTHORITY (GRA)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203E367-79A5-A3BA-EE2B-D5C39BF0132B}"/>
              </a:ext>
            </a:extLst>
          </p:cNvPr>
          <p:cNvSpPr txBox="1"/>
          <p:nvPr/>
        </p:nvSpPr>
        <p:spPr>
          <a:xfrm>
            <a:off x="316786" y="852755"/>
            <a:ext cx="11558427" cy="63717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dirty="0"/>
              <a:t>A</a:t>
            </a:r>
            <a:r>
              <a:rPr lang="en-GH" dirty="0"/>
              <a:t> taxpayer is a person liable to pay tax. For a person to become a taxpayer, that person has to be captured onto the records of the GRA through registration. </a:t>
            </a:r>
          </a:p>
          <a:p>
            <a:pPr>
              <a:lnSpc>
                <a:spcPct val="150000"/>
              </a:lnSpc>
            </a:pPr>
            <a:r>
              <a:rPr lang="en-GB" dirty="0"/>
              <a:t>T</a:t>
            </a:r>
            <a:r>
              <a:rPr lang="en-GH" dirty="0"/>
              <a:t>he aim of registration  includes the folowing: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Ø"/>
            </a:pPr>
            <a:r>
              <a:rPr lang="en-GB" dirty="0"/>
              <a:t>T</a:t>
            </a:r>
            <a:r>
              <a:rPr lang="en-GH" dirty="0"/>
              <a:t>o record the particulars of taxpayers for identification and information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Ø"/>
            </a:pPr>
            <a:r>
              <a:rPr lang="en-GB" dirty="0"/>
              <a:t>T</a:t>
            </a:r>
            <a:r>
              <a:rPr lang="en-GH" dirty="0"/>
              <a:t>o eliminate and prevent multiple registration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Ø"/>
            </a:pPr>
            <a:r>
              <a:rPr lang="en-GB" dirty="0"/>
              <a:t>T</a:t>
            </a:r>
            <a:r>
              <a:rPr lang="en-GH" dirty="0"/>
              <a:t>o issue and manage Tax identification numbers(GUIN/TIN)*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Ø"/>
            </a:pPr>
            <a:r>
              <a:rPr lang="en-GB" dirty="0"/>
              <a:t>T</a:t>
            </a:r>
            <a:r>
              <a:rPr lang="en-GH" dirty="0"/>
              <a:t>o effectively manage Taxpayer Information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Ø"/>
            </a:pPr>
            <a:r>
              <a:rPr lang="en-GH" dirty="0"/>
              <a:t>To promote</a:t>
            </a:r>
            <a:r>
              <a:rPr lang="en-GH" b="1" dirty="0"/>
              <a:t> VOLUNTARY </a:t>
            </a:r>
            <a:r>
              <a:rPr lang="en-GH" dirty="0"/>
              <a:t>Tax compliance</a:t>
            </a:r>
          </a:p>
          <a:p>
            <a:pPr>
              <a:lnSpc>
                <a:spcPct val="150000"/>
              </a:lnSpc>
            </a:pPr>
            <a:endParaRPr lang="en-GH" dirty="0"/>
          </a:p>
          <a:p>
            <a:pPr>
              <a:lnSpc>
                <a:spcPct val="150000"/>
              </a:lnSpc>
            </a:pPr>
            <a:r>
              <a:rPr lang="en-GB" dirty="0"/>
              <a:t>T</a:t>
            </a:r>
            <a:r>
              <a:rPr lang="en-GH" dirty="0"/>
              <a:t>he main item needed for a registration of a Taxpayer is the GUIN/TIN.</a:t>
            </a:r>
          </a:p>
          <a:p>
            <a:pPr>
              <a:lnSpc>
                <a:spcPct val="150000"/>
              </a:lnSpc>
            </a:pPr>
            <a:r>
              <a:rPr lang="en-GH" dirty="0"/>
              <a:t>List of other documents include:</a:t>
            </a:r>
          </a:p>
          <a:p>
            <a:pPr>
              <a:lnSpc>
                <a:spcPct val="150000"/>
              </a:lnSpc>
            </a:pPr>
            <a:r>
              <a:rPr lang="en-GH" dirty="0"/>
              <a:t>Copies of Registration documents from the Office of the Registrar of Companies (ORC):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en-GB" dirty="0"/>
              <a:t>C</a:t>
            </a:r>
            <a:r>
              <a:rPr lang="en-GH" dirty="0"/>
              <a:t>ertificate of Registration/ Form A – Sole-proprietors / GRA forms VAT Zero &amp; IT Form 04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ü"/>
            </a:pPr>
            <a:r>
              <a:rPr lang="en-GH" dirty="0"/>
              <a:t>Certificate of Incorporation, RGD form 3, Beneficial Ownership Profile, the Companies Act 2019 (Act 992)</a:t>
            </a:r>
          </a:p>
          <a:p>
            <a:pPr marL="285750" indent="-285750">
              <a:buFont typeface="Wingdings" pitchFamily="2" charset="2"/>
              <a:buChar char="ü"/>
            </a:pPr>
            <a:endParaRPr lang="en-GH" dirty="0"/>
          </a:p>
          <a:p>
            <a:endParaRPr lang="en-GH" dirty="0"/>
          </a:p>
          <a:p>
            <a:pPr marL="285750" indent="-285750">
              <a:buFont typeface="Wingdings" pitchFamily="2" charset="2"/>
              <a:buChar char="ü"/>
            </a:pPr>
            <a:endParaRPr lang="en-GH" dirty="0"/>
          </a:p>
          <a:p>
            <a:endParaRPr lang="en-GH" dirty="0"/>
          </a:p>
        </p:txBody>
      </p:sp>
    </p:spTree>
    <p:extLst>
      <p:ext uri="{BB962C8B-B14F-4D97-AF65-F5344CB8AC3E}">
        <p14:creationId xmlns:p14="http://schemas.microsoft.com/office/powerpoint/2010/main" val="29033925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FF9116-6E5E-5628-F70F-2E68BE56D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86" y="234864"/>
            <a:ext cx="10400267" cy="738664"/>
          </a:xfrm>
        </p:spPr>
        <p:txBody>
          <a:bodyPr/>
          <a:lstStyle/>
          <a:p>
            <a:pPr algn="ctr"/>
            <a:r>
              <a:rPr lang="en-GH" sz="2400" dirty="0">
                <a:latin typeface="Times" pitchFamily="2" charset="0"/>
                <a:cs typeface="Calibri" panose="020F0502020204030204" pitchFamily="34" charset="0"/>
              </a:rPr>
              <a:t>WHAT DOCUMENTS ARE AVAILABLE TO ATTEST TO VARIOUS REGISTRATIONS WITH THE AUTHORITY (GRA)</a:t>
            </a:r>
            <a:endParaRPr lang="en-GH" sz="2400" dirty="0">
              <a:latin typeface="Times" pitchFamily="2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846E56-62AC-5BA9-D0C1-BD83EE3B1418}"/>
              </a:ext>
            </a:extLst>
          </p:cNvPr>
          <p:cNvSpPr txBox="1"/>
          <p:nvPr/>
        </p:nvSpPr>
        <p:spPr>
          <a:xfrm>
            <a:off x="161986" y="973528"/>
            <a:ext cx="11868028" cy="5617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H" b="1" dirty="0"/>
              <a:t>GRA Certificate of Registration: </a:t>
            </a:r>
          </a:p>
          <a:p>
            <a:endParaRPr lang="en-GH" dirty="0"/>
          </a:p>
          <a:p>
            <a:r>
              <a:rPr lang="en-GH" dirty="0"/>
              <a:t>The main document that certifies that one is registered with the Authority</a:t>
            </a:r>
          </a:p>
          <a:p>
            <a:endParaRPr lang="en-GH" dirty="0"/>
          </a:p>
          <a:p>
            <a:r>
              <a:rPr lang="en-GH" b="1" dirty="0"/>
              <a:t>VAT Certificate: </a:t>
            </a:r>
          </a:p>
          <a:p>
            <a:endParaRPr lang="en-GH" b="1" dirty="0"/>
          </a:p>
          <a:p>
            <a:r>
              <a:rPr lang="en-GB" dirty="0"/>
              <a:t>T</a:t>
            </a:r>
            <a:r>
              <a:rPr lang="en-GH" dirty="0"/>
              <a:t>his document certifies a taxpayer as a VAT collecting agent.</a:t>
            </a:r>
          </a:p>
          <a:p>
            <a:endParaRPr lang="en-GH" dirty="0"/>
          </a:p>
          <a:p>
            <a:r>
              <a:rPr lang="en-GH" b="1" dirty="0"/>
              <a:t>Tax Clearance Certificate:</a:t>
            </a:r>
          </a:p>
          <a:p>
            <a:endParaRPr lang="en-GH" dirty="0"/>
          </a:p>
          <a:p>
            <a:r>
              <a:rPr lang="en-GH" dirty="0"/>
              <a:t>This document attest to the fact that a person has paid all tax liabilities or has made arrangement to pay outstanding liabilities</a:t>
            </a:r>
            <a:r>
              <a:rPr lang="en-GH" i="1" dirty="0"/>
              <a:t>.</a:t>
            </a:r>
          </a:p>
          <a:p>
            <a:endParaRPr lang="en-GH" dirty="0"/>
          </a:p>
          <a:p>
            <a:endParaRPr lang="en-GH" dirty="0"/>
          </a:p>
          <a:p>
            <a:r>
              <a:rPr lang="en-GH" b="1" dirty="0"/>
              <a:t>Withholding Tax Certificate: </a:t>
            </a:r>
          </a:p>
          <a:p>
            <a:endParaRPr lang="en-GH" b="1" dirty="0"/>
          </a:p>
          <a:p>
            <a:r>
              <a:rPr lang="en-GB" dirty="0"/>
              <a:t>T</a:t>
            </a:r>
            <a:r>
              <a:rPr lang="en-GH" dirty="0"/>
              <a:t>his document is presented to a third party to certify that they have suffered a witholding from a withholding agent. </a:t>
            </a:r>
          </a:p>
          <a:p>
            <a:endParaRPr lang="en-GH" dirty="0"/>
          </a:p>
          <a:p>
            <a:r>
              <a:rPr lang="en-GH" b="1" dirty="0"/>
              <a:t>Withholding VAT letter</a:t>
            </a:r>
          </a:p>
          <a:p>
            <a:r>
              <a:rPr lang="en-GB" dirty="0"/>
              <a:t>T</a:t>
            </a:r>
            <a:r>
              <a:rPr lang="en-GH" dirty="0"/>
              <a:t>his is a letter of authority that is designated to VAT witholding agents and issued to a third party known as the witholdee who has suffered VAT witholding.  </a:t>
            </a:r>
          </a:p>
          <a:p>
            <a:endParaRPr lang="en-GH" dirty="0"/>
          </a:p>
          <a:p>
            <a:endParaRPr lang="en-GH" dirty="0"/>
          </a:p>
        </p:txBody>
      </p:sp>
    </p:spTree>
    <p:extLst>
      <p:ext uri="{BB962C8B-B14F-4D97-AF65-F5344CB8AC3E}">
        <p14:creationId xmlns:p14="http://schemas.microsoft.com/office/powerpoint/2010/main" val="1116948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F67705-D658-E95B-7899-4D20A5C56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86" y="234864"/>
            <a:ext cx="10400267" cy="369332"/>
          </a:xfrm>
        </p:spPr>
        <p:txBody>
          <a:bodyPr/>
          <a:lstStyle/>
          <a:p>
            <a:pPr algn="ctr"/>
            <a:r>
              <a:rPr lang="en-GH" sz="2400" dirty="0">
                <a:latin typeface="Times" pitchFamily="2" charset="0"/>
                <a:cs typeface="Calibri" panose="020F0502020204030204" pitchFamily="34" charset="0"/>
              </a:rPr>
              <a:t>WHAT IS VALUE ADDED TAX (VAT) UNDER ACT 870 (2013)</a:t>
            </a:r>
            <a:endParaRPr lang="en-GH" sz="2400" dirty="0">
              <a:latin typeface="Times" pitchFamily="2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5592B29-4278-9DBF-1E58-07E93A6522D2}"/>
              </a:ext>
            </a:extLst>
          </p:cNvPr>
          <p:cNvSpPr txBox="1"/>
          <p:nvPr/>
        </p:nvSpPr>
        <p:spPr>
          <a:xfrm>
            <a:off x="71920" y="1219749"/>
            <a:ext cx="12120080" cy="45352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GB" dirty="0"/>
              <a:t>T</a:t>
            </a:r>
            <a:r>
              <a:rPr lang="en-GH" dirty="0"/>
              <a:t>he Value Added Tax Act, 2013 (Act 870) Section 1(1): </a:t>
            </a:r>
          </a:p>
          <a:p>
            <a:pPr>
              <a:lnSpc>
                <a:spcPct val="200000"/>
              </a:lnSpc>
            </a:pPr>
            <a:r>
              <a:rPr lang="en-GH" dirty="0"/>
              <a:t>There is imposed by this Act a tax to be known as the </a:t>
            </a:r>
            <a:r>
              <a:rPr lang="en-GH" b="1" dirty="0"/>
              <a:t>Value Added Tax </a:t>
            </a:r>
            <a:r>
              <a:rPr lang="en-GH" dirty="0"/>
              <a:t>which is to be charged on;</a:t>
            </a:r>
          </a:p>
          <a:p>
            <a:pPr marL="285750" indent="-285750">
              <a:lnSpc>
                <a:spcPct val="200000"/>
              </a:lnSpc>
              <a:buFont typeface="Wingdings" pitchFamily="2" charset="2"/>
              <a:buChar char="ü"/>
            </a:pPr>
            <a:r>
              <a:rPr lang="en-GH" dirty="0"/>
              <a:t>(a) Supply of goods or services made in the country other than exempt goods or services; and </a:t>
            </a:r>
          </a:p>
          <a:p>
            <a:pPr marL="285750" indent="-285750">
              <a:lnSpc>
                <a:spcPct val="200000"/>
              </a:lnSpc>
              <a:buFont typeface="Wingdings" pitchFamily="2" charset="2"/>
              <a:buChar char="ü"/>
            </a:pPr>
            <a:r>
              <a:rPr lang="en-GH" dirty="0"/>
              <a:t>(b) Import of goods or import of services other than exempt import</a:t>
            </a:r>
          </a:p>
          <a:p>
            <a:pPr>
              <a:lnSpc>
                <a:spcPct val="200000"/>
              </a:lnSpc>
            </a:pPr>
            <a:r>
              <a:rPr lang="en-GH" dirty="0">
                <a:solidFill>
                  <a:srgbClr val="FF0000"/>
                </a:solidFill>
              </a:rPr>
              <a:t>We will come back to exempt goods and services with respect to ‘contractors’ and civil engineers.</a:t>
            </a:r>
          </a:p>
          <a:p>
            <a:pPr>
              <a:lnSpc>
                <a:spcPct val="200000"/>
              </a:lnSpc>
            </a:pPr>
            <a:r>
              <a:rPr lang="en-GH" dirty="0"/>
              <a:t>Section 2 also states that; unless otherwise provided in this Act (Act 870), the tax is charged on the supply of goods or services where the supply is</a:t>
            </a:r>
          </a:p>
          <a:p>
            <a:pPr marL="342900" indent="-342900">
              <a:lnSpc>
                <a:spcPct val="200000"/>
              </a:lnSpc>
              <a:buAutoNum type="alphaLcParenBoth"/>
            </a:pPr>
            <a:r>
              <a:rPr lang="en-GB" dirty="0"/>
              <a:t>A</a:t>
            </a:r>
            <a:r>
              <a:rPr lang="en-GH" dirty="0"/>
              <a:t> taxable supply; and </a:t>
            </a:r>
          </a:p>
          <a:p>
            <a:pPr marL="342900" indent="-342900">
              <a:lnSpc>
                <a:spcPct val="200000"/>
              </a:lnSpc>
              <a:buAutoNum type="alphaLcParenBoth"/>
            </a:pPr>
            <a:r>
              <a:rPr lang="en-GB" dirty="0"/>
              <a:t>M</a:t>
            </a:r>
            <a:r>
              <a:rPr lang="en-GH" dirty="0"/>
              <a:t>ade by a taxable person in the course of the taxable activity of that person. </a:t>
            </a:r>
          </a:p>
        </p:txBody>
      </p:sp>
    </p:spTree>
    <p:extLst>
      <p:ext uri="{BB962C8B-B14F-4D97-AF65-F5344CB8AC3E}">
        <p14:creationId xmlns:p14="http://schemas.microsoft.com/office/powerpoint/2010/main" val="36791308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38A808-3286-CB3D-2E33-A06199D512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86" y="234864"/>
            <a:ext cx="10400267" cy="369332"/>
          </a:xfrm>
        </p:spPr>
        <p:txBody>
          <a:bodyPr/>
          <a:lstStyle/>
          <a:p>
            <a:pPr algn="ctr"/>
            <a:r>
              <a:rPr lang="en-GH" sz="2400" dirty="0">
                <a:latin typeface="Times" pitchFamily="2" charset="0"/>
                <a:cs typeface="Calibri" panose="020F0502020204030204" pitchFamily="34" charset="0"/>
              </a:rPr>
              <a:t>TYPES OF VAT SCHEMES</a:t>
            </a:r>
            <a:endParaRPr lang="en-GH" sz="2400" dirty="0">
              <a:latin typeface="Times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7F39DA4-461D-3F1B-B2B3-EEE024F32B59}"/>
              </a:ext>
            </a:extLst>
          </p:cNvPr>
          <p:cNvSpPr txBox="1"/>
          <p:nvPr/>
        </p:nvSpPr>
        <p:spPr>
          <a:xfrm>
            <a:off x="410966" y="1243173"/>
            <a:ext cx="10253609" cy="45352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GB" dirty="0"/>
              <a:t>T</a:t>
            </a:r>
            <a:r>
              <a:rPr lang="en-GH" dirty="0"/>
              <a:t>he VAT has currently two schemes:</a:t>
            </a:r>
          </a:p>
          <a:p>
            <a:pPr marL="285750" indent="-285750">
              <a:lnSpc>
                <a:spcPct val="200000"/>
              </a:lnSpc>
              <a:buFont typeface="Wingdings" pitchFamily="2" charset="2"/>
              <a:buChar char="v"/>
            </a:pPr>
            <a:r>
              <a:rPr lang="en-GH" dirty="0"/>
              <a:t>VAT STANDARD RATE SCHEME</a:t>
            </a:r>
          </a:p>
          <a:p>
            <a:pPr marL="752231" lvl="1" indent="-285750">
              <a:lnSpc>
                <a:spcPct val="200000"/>
              </a:lnSpc>
              <a:buFont typeface="Wingdings" pitchFamily="2" charset="2"/>
              <a:buChar char="Ø"/>
            </a:pPr>
            <a:r>
              <a:rPr lang="en-GH" dirty="0"/>
              <a:t>GETFUND-2.5%</a:t>
            </a:r>
          </a:p>
          <a:p>
            <a:pPr marL="752231" lvl="1" indent="-285750">
              <a:lnSpc>
                <a:spcPct val="200000"/>
              </a:lnSpc>
              <a:buFont typeface="Wingdings" pitchFamily="2" charset="2"/>
              <a:buChar char="Ø"/>
            </a:pPr>
            <a:r>
              <a:rPr lang="en-GH" dirty="0"/>
              <a:t>NHIL-2.5%</a:t>
            </a:r>
          </a:p>
          <a:p>
            <a:pPr marL="752231" lvl="1" indent="-285750">
              <a:lnSpc>
                <a:spcPct val="200000"/>
              </a:lnSpc>
              <a:buFont typeface="Wingdings" pitchFamily="2" charset="2"/>
              <a:buChar char="Ø"/>
            </a:pPr>
            <a:r>
              <a:rPr lang="en-GH" dirty="0"/>
              <a:t>Covid-19 Levy-1%</a:t>
            </a:r>
          </a:p>
          <a:p>
            <a:pPr marL="752231" lvl="1" indent="-285750">
              <a:lnSpc>
                <a:spcPct val="200000"/>
              </a:lnSpc>
              <a:buFont typeface="Wingdings" pitchFamily="2" charset="2"/>
              <a:buChar char="Ø"/>
            </a:pPr>
            <a:r>
              <a:rPr lang="en-GH" dirty="0"/>
              <a:t>VAT-15% (Act 1082) </a:t>
            </a:r>
          </a:p>
          <a:p>
            <a:pPr marL="285750" indent="-285750">
              <a:lnSpc>
                <a:spcPct val="200000"/>
              </a:lnSpc>
              <a:buFont typeface="Wingdings" pitchFamily="2" charset="2"/>
              <a:buChar char="v"/>
            </a:pPr>
            <a:r>
              <a:rPr lang="en-GH" dirty="0"/>
              <a:t>VAT FLAT RATE SCHEME </a:t>
            </a:r>
          </a:p>
          <a:p>
            <a:pPr marL="752231" lvl="1" indent="-285750">
              <a:lnSpc>
                <a:spcPct val="200000"/>
              </a:lnSpc>
              <a:buFont typeface="Wingdings" pitchFamily="2" charset="2"/>
              <a:buChar char="Ø"/>
            </a:pPr>
            <a:r>
              <a:rPr lang="en-GB" dirty="0"/>
              <a:t>C</a:t>
            </a:r>
            <a:r>
              <a:rPr lang="en-GH" dirty="0"/>
              <a:t>ovid-19 Levy-1%</a:t>
            </a:r>
          </a:p>
          <a:p>
            <a:pPr marL="752231" lvl="1" indent="-285750">
              <a:lnSpc>
                <a:spcPct val="200000"/>
              </a:lnSpc>
              <a:buFont typeface="Wingdings" pitchFamily="2" charset="2"/>
              <a:buChar char="Ø"/>
            </a:pPr>
            <a:r>
              <a:rPr lang="en-GH" dirty="0"/>
              <a:t>VAT-3%</a:t>
            </a:r>
          </a:p>
        </p:txBody>
      </p:sp>
    </p:spTree>
    <p:extLst>
      <p:ext uri="{BB962C8B-B14F-4D97-AF65-F5344CB8AC3E}">
        <p14:creationId xmlns:p14="http://schemas.microsoft.com/office/powerpoint/2010/main" val="10110153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B4A76D-C391-4FCC-16B9-C3D7BDA8DF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86" y="234864"/>
            <a:ext cx="10400267" cy="369332"/>
          </a:xfrm>
        </p:spPr>
        <p:txBody>
          <a:bodyPr/>
          <a:lstStyle/>
          <a:p>
            <a:pPr algn="ctr"/>
            <a:r>
              <a:rPr lang="en-GH" sz="2400" dirty="0">
                <a:latin typeface="Times" pitchFamily="2" charset="0"/>
                <a:cs typeface="Calibri" panose="020F0502020204030204" pitchFamily="34" charset="0"/>
              </a:rPr>
              <a:t>REQUIREMENT FOR VAT REGISTRATION</a:t>
            </a:r>
            <a:endParaRPr lang="en-GH" sz="2400" dirty="0">
              <a:latin typeface="Times" pitchFamily="2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6E278F3-F3E9-6BF0-13EB-B0E08DA3B1C9}"/>
              </a:ext>
            </a:extLst>
          </p:cNvPr>
          <p:cNvSpPr txBox="1"/>
          <p:nvPr/>
        </p:nvSpPr>
        <p:spPr>
          <a:xfrm>
            <a:off x="297950" y="842480"/>
            <a:ext cx="11301573" cy="5868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GB" dirty="0"/>
              <a:t>Under Section 6 of the Value Added Tax Act, 2013 (Act 870);</a:t>
            </a:r>
          </a:p>
          <a:p>
            <a:pPr>
              <a:lnSpc>
                <a:spcPct val="200000"/>
              </a:lnSpc>
            </a:pPr>
            <a:r>
              <a:rPr lang="en-GB" dirty="0"/>
              <a:t>6(1) Except as otherwise provided in this Act, a person who is engaged in taxable activity and is not registered for tax purposes shall register</a:t>
            </a:r>
          </a:p>
          <a:p>
            <a:pPr marL="285750" indent="-285750">
              <a:lnSpc>
                <a:spcPct val="200000"/>
              </a:lnSpc>
              <a:buFont typeface="Wingdings" pitchFamily="2" charset="2"/>
              <a:buChar char="Ø"/>
            </a:pPr>
            <a:r>
              <a:rPr lang="en-GB" dirty="0"/>
              <a:t>taxable supplies exceeding GH₵200,000.00 (Act 904) 12 or less months (compulsory registration Section 14)</a:t>
            </a:r>
          </a:p>
          <a:p>
            <a:pPr marL="285750" indent="-285750">
              <a:lnSpc>
                <a:spcPct val="200000"/>
              </a:lnSpc>
              <a:buFont typeface="Wingdings" pitchFamily="2" charset="2"/>
              <a:buChar char="Ø"/>
            </a:pPr>
            <a:r>
              <a:rPr lang="en-GB" dirty="0"/>
              <a:t>Voluntary registration (Section 13);</a:t>
            </a:r>
          </a:p>
          <a:p>
            <a:pPr marL="752231" lvl="1" indent="-285750">
              <a:lnSpc>
                <a:spcPct val="200000"/>
              </a:lnSpc>
              <a:buFont typeface="Wingdings" pitchFamily="2" charset="2"/>
              <a:buChar char="Ø"/>
            </a:pPr>
            <a:r>
              <a:rPr lang="en-GB" dirty="0"/>
              <a:t>Physical place of business</a:t>
            </a:r>
          </a:p>
          <a:p>
            <a:pPr marL="752231" lvl="1" indent="-285750">
              <a:lnSpc>
                <a:spcPct val="200000"/>
              </a:lnSpc>
              <a:buFont typeface="Wingdings" pitchFamily="2" charset="2"/>
              <a:buChar char="Ø"/>
            </a:pPr>
            <a:r>
              <a:rPr lang="en-GB" dirty="0"/>
              <a:t>Keep proper accounting records relating to the business</a:t>
            </a:r>
          </a:p>
          <a:p>
            <a:pPr marL="752231" lvl="1" indent="-285750">
              <a:lnSpc>
                <a:spcPct val="200000"/>
              </a:lnSpc>
              <a:buFont typeface="Wingdings" pitchFamily="2" charset="2"/>
              <a:buChar char="Ø"/>
            </a:pPr>
            <a:r>
              <a:rPr lang="en-GB" dirty="0"/>
              <a:t>Submit regular and reliable returns as required by the Act</a:t>
            </a:r>
          </a:p>
          <a:p>
            <a:pPr marL="752231" lvl="1" indent="-285750">
              <a:lnSpc>
                <a:spcPct val="200000"/>
              </a:lnSpc>
              <a:buFont typeface="Wingdings" pitchFamily="2" charset="2"/>
              <a:buChar char="Ø"/>
            </a:pPr>
            <a:r>
              <a:rPr lang="en-GB" dirty="0"/>
              <a:t>Be a fit and proper person to register</a:t>
            </a:r>
          </a:p>
          <a:p>
            <a:pPr marL="752231" lvl="1" indent="-285750">
              <a:buFont typeface="Wingdings" pitchFamily="2" charset="2"/>
              <a:buChar char="Ø"/>
            </a:pPr>
            <a:endParaRPr lang="en-GB" dirty="0"/>
          </a:p>
          <a:p>
            <a:pPr marL="752231" lvl="1" indent="-285750">
              <a:buFont typeface="Wingdings" pitchFamily="2" charset="2"/>
              <a:buChar char="Ø"/>
            </a:pPr>
            <a:endParaRPr lang="en-GB" dirty="0"/>
          </a:p>
          <a:p>
            <a:pPr marL="752231" lvl="1" indent="-285750">
              <a:buFont typeface="Wingdings" pitchFamily="2" charset="2"/>
              <a:buChar char="Ø"/>
            </a:pPr>
            <a:endParaRPr lang="en-GB" dirty="0"/>
          </a:p>
          <a:p>
            <a:pPr marL="285750" indent="-285750">
              <a:buFont typeface="Wingdings" pitchFamily="2" charset="2"/>
              <a:buChar char="Ø"/>
            </a:pPr>
            <a:endParaRPr lang="en-GB" dirty="0"/>
          </a:p>
          <a:p>
            <a:pPr marL="285750" indent="-285750">
              <a:buFont typeface="Wingdings" pitchFamily="2" charset="2"/>
              <a:buChar char="Ø"/>
            </a:pPr>
            <a:endParaRPr lang="en-GH" dirty="0"/>
          </a:p>
        </p:txBody>
      </p:sp>
    </p:spTree>
    <p:extLst>
      <p:ext uri="{BB962C8B-B14F-4D97-AF65-F5344CB8AC3E}">
        <p14:creationId xmlns:p14="http://schemas.microsoft.com/office/powerpoint/2010/main" val="2866909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NAME" val="C:\Users\Oluwafunmilayo Ilawo\Documents\20190320_GRA_March_PM_Review_vf.pptx"/>
  <p:tag name="THINKCELLPRESENTATIONDONOTDELETE" val="&lt;?xml version=&quot;1.0&quot; encoding=&quot;UTF-16&quot; standalone=&quot;yes&quot;?&gt;&lt;root reqver=&quot;25060&quot;&gt;&lt;version val=&quot;278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-%y&lt;/m_strFormatTime&gt;&lt;m_yearfmt&gt;&lt;begin val=&quot;4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MTBTACCENT" val="Text1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bLrFPhz1oZ1FFlqWJ4v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Firm Format - template_Blue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CD116"/>
      </a:accent1>
      <a:accent2>
        <a:srgbClr val="00A2D7"/>
      </a:accent2>
      <a:accent3>
        <a:srgbClr val="006B3F"/>
      </a:accent3>
      <a:accent4>
        <a:srgbClr val="CE1126"/>
      </a:accent4>
      <a:accent5>
        <a:srgbClr val="595959"/>
      </a:accent5>
      <a:accent6>
        <a:srgbClr val="808080"/>
      </a:accent6>
      <a:hlink>
        <a:srgbClr val="006B3F"/>
      </a:hlink>
      <a:folHlink>
        <a:srgbClr val="CE112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CD116"/>
        </a:accent1>
        <a:accent2>
          <a:srgbClr val="00A2D7"/>
        </a:accent2>
        <a:accent3>
          <a:srgbClr val="006B3F"/>
        </a:accent3>
        <a:accent4>
          <a:srgbClr val="CE1126"/>
        </a:accent4>
        <a:accent5>
          <a:srgbClr val="595959"/>
        </a:accent5>
        <a:accent6>
          <a:srgbClr val="808080"/>
        </a:accent6>
        <a:hlink>
          <a:srgbClr val="006B3F"/>
        </a:hlink>
        <a:folHlink>
          <a:srgbClr val="CE11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 SLIDES-REVIEWED" id="{8D1D4772-6BA8-9A49-837A-A49018542DC9}" vid="{BB0BA4DB-F8BA-AF4E-A077-71EE42980FFA}"/>
    </a:ext>
  </a:extLst>
</a:theme>
</file>

<file path=ppt/theme/theme2.xml><?xml version="1.0" encoding="utf-8"?>
<a:theme xmlns:a="http://schemas.openxmlformats.org/drawingml/2006/main" name="2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6B3F"/>
      </a:accent1>
      <a:accent2>
        <a:srgbClr val="00A2D7"/>
      </a:accent2>
      <a:accent3>
        <a:srgbClr val="CE1126"/>
      </a:accent3>
      <a:accent4>
        <a:srgbClr val="FCD116"/>
      </a:accent4>
      <a:accent5>
        <a:srgbClr val="595959"/>
      </a:accent5>
      <a:accent6>
        <a:srgbClr val="F99B1C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6B3F"/>
        </a:accent1>
        <a:accent2>
          <a:srgbClr val="00A2D7"/>
        </a:accent2>
        <a:accent3>
          <a:srgbClr val="CE1126"/>
        </a:accent3>
        <a:accent4>
          <a:srgbClr val="FCD116"/>
        </a:accent4>
        <a:accent5>
          <a:srgbClr val="595959"/>
        </a:accent5>
        <a:accent6>
          <a:srgbClr val="F99B1C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009449"/>
    </a:custClr>
  </a:custClrLst>
  <a:extLst>
    <a:ext uri="{05A4C25C-085E-4340-85A3-A5531E510DB2}">
      <thm15:themeFamily xmlns:thm15="http://schemas.microsoft.com/office/thememl/2012/main" name="PRESENTATION SLIDES-REVIEWED" id="{8D1D4772-6BA8-9A49-837A-A49018542DC9}" vid="{6F761CC3-472E-7144-B3F1-A4805D9EDDFA}"/>
    </a:ext>
  </a:extLst>
</a:theme>
</file>

<file path=ppt/theme/theme3.xml><?xml version="1.0" encoding="utf-8"?>
<a:theme xmlns:a="http://schemas.openxmlformats.org/drawingml/2006/main" name="4_Firm Format - template_Blue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CD116"/>
      </a:accent1>
      <a:accent2>
        <a:srgbClr val="00A2D7"/>
      </a:accent2>
      <a:accent3>
        <a:srgbClr val="006B3F"/>
      </a:accent3>
      <a:accent4>
        <a:srgbClr val="CE1126"/>
      </a:accent4>
      <a:accent5>
        <a:srgbClr val="595959"/>
      </a:accent5>
      <a:accent6>
        <a:srgbClr val="808080"/>
      </a:accent6>
      <a:hlink>
        <a:srgbClr val="006B3F"/>
      </a:hlink>
      <a:folHlink>
        <a:srgbClr val="CE112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CD116"/>
        </a:accent1>
        <a:accent2>
          <a:srgbClr val="00A2D7"/>
        </a:accent2>
        <a:accent3>
          <a:srgbClr val="006B3F"/>
        </a:accent3>
        <a:accent4>
          <a:srgbClr val="CE1126"/>
        </a:accent4>
        <a:accent5>
          <a:srgbClr val="595959"/>
        </a:accent5>
        <a:accent6>
          <a:srgbClr val="808080"/>
        </a:accent6>
        <a:hlink>
          <a:srgbClr val="006B3F"/>
        </a:hlink>
        <a:folHlink>
          <a:srgbClr val="CE11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 SLIDES-REVIEWED" id="{8D1D4772-6BA8-9A49-837A-A49018542DC9}" vid="{2DB321AC-2E7A-2748-9B20-BDAE40F0A9C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C5DF49B-5796-2A42-A9C0-AB52819A655B}">
  <we:reference id="wa104380456" version="1.2.0.6" store="en-GB" storeType="OMEX"/>
  <we:alternateReferences>
    <we:reference id="WA104380456" version="1.2.0.6" store="WA104380456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A5F63E349B403479438E2BA47B0618E" ma:contentTypeVersion="6" ma:contentTypeDescription="Create a new document." ma:contentTypeScope="" ma:versionID="440103d08f1a5807c3aa50c891254f46">
  <xsd:schema xmlns:xsd="http://www.w3.org/2001/XMLSchema" xmlns:xs="http://www.w3.org/2001/XMLSchema" xmlns:p="http://schemas.microsoft.com/office/2006/metadata/properties" xmlns:ns2="59e1fb8a-3df7-4784-8582-b62e0550789b" xmlns:ns3="1c7b5551-992f-4306-a8d6-b23ef7bcbb3f" targetNamespace="http://schemas.microsoft.com/office/2006/metadata/properties" ma:root="true" ma:fieldsID="4eb95539e2c5473ef5c3ce11bdc0252e" ns2:_="" ns3:_="">
    <xsd:import namespace="59e1fb8a-3df7-4784-8582-b62e0550789b"/>
    <xsd:import namespace="1c7b5551-992f-4306-a8d6-b23ef7bcbb3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e1fb8a-3df7-4784-8582-b62e0550789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7b5551-992f-4306-a8d6-b23ef7bcbb3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ABC4E43-0B35-431B-8ABA-3ABA06B2BA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77A629-2D7D-40AF-8DB3-D7B049D3C7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9e1fb8a-3df7-4784-8582-b62e0550789b"/>
    <ds:schemaRef ds:uri="1c7b5551-992f-4306-a8d6-b23ef7bcbb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97B7FF7-DEC7-416E-9FE0-3ECC7F84AB3A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irm Format - template_Blue</Template>
  <TotalTime>1705</TotalTime>
  <Words>949</Words>
  <Application>Microsoft Macintosh PowerPoint</Application>
  <PresentationFormat>Widescreen</PresentationFormat>
  <Paragraphs>112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Calibri</vt:lpstr>
      <vt:lpstr>Cambria</vt:lpstr>
      <vt:lpstr>Georgia</vt:lpstr>
      <vt:lpstr>Segoe UI</vt:lpstr>
      <vt:lpstr>Times</vt:lpstr>
      <vt:lpstr>Wingdings</vt:lpstr>
      <vt:lpstr>Firm Format - template_Blue</vt:lpstr>
      <vt:lpstr>2_White</vt:lpstr>
      <vt:lpstr>4_Firm Format - template_Blue</vt:lpstr>
      <vt:lpstr>think-cell Slide</vt:lpstr>
      <vt:lpstr>PowerPoint Presentation</vt:lpstr>
      <vt:lpstr>PLEASE, WHAT IS YOUR EXPECTATION OF THIS PRESENTATION?</vt:lpstr>
      <vt:lpstr>PRESENTATION OUTLINE </vt:lpstr>
      <vt:lpstr>WHO IS A TAXPAYER?</vt:lpstr>
      <vt:lpstr>WHAT DOES IT TAKE TO REGISTER WITH THE GHANA REVENUE AUTHORITY (GRA)?</vt:lpstr>
      <vt:lpstr>WHAT DOCUMENTS ARE AVAILABLE TO ATTEST TO VARIOUS REGISTRATIONS WITH THE AUTHORITY (GRA)</vt:lpstr>
      <vt:lpstr>WHAT IS VALUE ADDED TAX (VAT) UNDER ACT 870 (2013)</vt:lpstr>
      <vt:lpstr>TYPES OF VAT SCHEMES</vt:lpstr>
      <vt:lpstr>REQUIREMENT FOR VAT REGISTRATION</vt:lpstr>
      <vt:lpstr>PECULIAR ISSUES WITH RESPECT TO VAT REGISTRATION FOR CONTRACTORS/CIVIL ENGINEERS</vt:lpstr>
      <vt:lpstr>ANY QUESTIONS AND CONTRIBUTIONS PLEASE?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anden Anuka</dc:creator>
  <cp:lastModifiedBy>Branden Anuka</cp:lastModifiedBy>
  <cp:revision>5</cp:revision>
  <cp:lastPrinted>2022-06-20T11:18:52Z</cp:lastPrinted>
  <dcterms:created xsi:type="dcterms:W3CDTF">2023-09-06T06:01:28Z</dcterms:created>
  <dcterms:modified xsi:type="dcterms:W3CDTF">2023-09-07T14:58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A5F63E349B403479438E2BA47B0618E</vt:lpwstr>
  </property>
</Properties>
</file>